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comments/modernComment_100_0.xml" ContentType="application/vnd.ms-powerpoint.comments+xml"/>
  <Override PartName="/ppt/comments/modernComment_7FFFD783_F9F13479.xml" ContentType="application/vnd.ms-powerpoint.comments+xml"/>
  <Override PartName="/ppt/tags/tag7.xml" ContentType="application/vnd.openxmlformats-officedocument.presentationml.tags+xml"/>
  <Override PartName="/ppt/notesSlides/notesSlide3.xml" ContentType="application/vnd.openxmlformats-officedocument.presentationml.notesSlide+xml"/>
  <Override PartName="/ppt/comments/modernComment_7FFFFFF2_213D9A13.xml" ContentType="application/vnd.ms-powerpoint.comments+xml"/>
  <Override PartName="/ppt/tags/tag8.xml" ContentType="application/vnd.openxmlformats-officedocument.presentationml.tags+xml"/>
  <Override PartName="/ppt/notesSlides/notesSlide4.xml" ContentType="application/vnd.openxmlformats-officedocument.presentationml.notesSlide+xml"/>
  <Override PartName="/ppt/comments/modernComment_7FFFFFF3_8CF446FE.xml" ContentType="application/vnd.ms-powerpoint.comment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902" r:id="rId5"/>
  </p:sldMasterIdLst>
  <p:notesMasterIdLst>
    <p:notesMasterId r:id="rId28"/>
  </p:notesMasterIdLst>
  <p:handoutMasterIdLst>
    <p:handoutMasterId r:id="rId29"/>
  </p:handoutMasterIdLst>
  <p:sldIdLst>
    <p:sldId id="2145707543" r:id="rId6"/>
    <p:sldId id="603" r:id="rId7"/>
    <p:sldId id="2147483636" r:id="rId8"/>
    <p:sldId id="2147473280" r:id="rId9"/>
    <p:sldId id="2147473279" r:id="rId10"/>
    <p:sldId id="256" r:id="rId11"/>
    <p:sldId id="2147473282" r:id="rId12"/>
    <p:sldId id="2147473283" r:id="rId13"/>
    <p:sldId id="2147483634" r:id="rId14"/>
    <p:sldId id="2147483635" r:id="rId15"/>
    <p:sldId id="2147473311" r:id="rId16"/>
    <p:sldId id="627" r:id="rId17"/>
    <p:sldId id="613" r:id="rId18"/>
    <p:sldId id="625" r:id="rId19"/>
    <p:sldId id="604" r:id="rId20"/>
    <p:sldId id="2147483629" r:id="rId21"/>
    <p:sldId id="2147483639" r:id="rId22"/>
    <p:sldId id="2147473261" r:id="rId23"/>
    <p:sldId id="2147483632" r:id="rId24"/>
    <p:sldId id="2147483633" r:id="rId25"/>
    <p:sldId id="2147483637" r:id="rId26"/>
    <p:sldId id="617" r:id="rId27"/>
  </p:sldIdLst>
  <p:sldSz cx="12192000" cy="6858000"/>
  <p:notesSz cx="6858000" cy="9144000"/>
  <p:embeddedFontLst>
    <p:embeddedFont>
      <p:font typeface="Aktiv Grotesk" panose="020B0504020202020204" pitchFamily="34" charset="0"/>
      <p:regular r:id="rId30"/>
      <p:bold r:id="rId31"/>
    </p:embeddedFont>
    <p:embeddedFont>
      <p:font typeface="Aktiv Grotesk Medium" panose="020B0504020202020204" pitchFamily="34" charset="0"/>
      <p:regular r:id="rId32"/>
    </p:embeddedFont>
    <p:embeddedFont>
      <p:font typeface="Lufthansa Office Head" panose="020B0404040000000004" pitchFamily="34" charset="0"/>
      <p:regular r:id="rId33"/>
      <p:bold r:id="rId34"/>
      <p:italic r:id="rId35"/>
      <p:boldItalic r:id="rId36"/>
    </p:embeddedFont>
    <p:embeddedFont>
      <p:font typeface="Lufthansa Office Text" panose="020B0404040000000004" pitchFamily="34" charset="0"/>
      <p:regular r:id="rId37"/>
      <p:bold r:id="rId38"/>
      <p:italic r:id="rId39"/>
      <p:boldItalic r:id="rId40"/>
    </p:embeddedFont>
    <p:embeddedFont>
      <p:font typeface="Montserrat" pitchFamily="2" charset="77"/>
      <p:regular r:id="rId41"/>
      <p:bold r:id="rId42"/>
      <p:italic r:id="rId43"/>
      <p:boldItalic r:id="rId44"/>
    </p:embeddedFont>
    <p:embeddedFont>
      <p:font typeface="Roboto" panose="02000000000000000000" pitchFamily="2" charset="0"/>
      <p:regular r:id="rId45"/>
      <p:bold r:id="rId46"/>
      <p:italic r:id="rId47"/>
      <p:boldItalic r:id="rId48"/>
    </p:embeddedFont>
  </p:embeddedFontLst>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FDD86A-C054-440E-B368-EE18518EFDB6}">
          <p14:sldIdLst>
            <p14:sldId id="2145707543"/>
            <p14:sldId id="603"/>
            <p14:sldId id="2147483636"/>
            <p14:sldId id="2147473280"/>
            <p14:sldId id="2147473279"/>
            <p14:sldId id="256"/>
            <p14:sldId id="2147473282"/>
            <p14:sldId id="2147473283"/>
            <p14:sldId id="2147483634"/>
            <p14:sldId id="2147483635"/>
            <p14:sldId id="2147473311"/>
            <p14:sldId id="627"/>
            <p14:sldId id="613"/>
            <p14:sldId id="625"/>
            <p14:sldId id="604"/>
            <p14:sldId id="2147483629"/>
            <p14:sldId id="2147483639"/>
            <p14:sldId id="2147473261"/>
          </p14:sldIdLst>
        </p14:section>
        <p14:section name="Backup" id="{D7810E56-F364-40B7-88D8-8F11E0CE91E0}">
          <p14:sldIdLst>
            <p14:sldId id="2147483632"/>
            <p14:sldId id="2147483633"/>
            <p14:sldId id="2147483637"/>
            <p14:sldId id="61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165DA5C-D337-E20D-E110-F3C410709050}" name="Gregor Baues" initials="GB" userId="98118e39496fffa7"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E6E6E6"/>
    <a:srgbClr val="FF00FF"/>
    <a:srgbClr val="1E32FA"/>
    <a:srgbClr val="E6E8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8534BB-8E08-40DB-81D9-996BFDD0182C}" v="4" dt="2025-11-10T15:16:21.4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72" autoAdjust="0"/>
    <p:restoredTop sz="96327" autoAdjust="0"/>
  </p:normalViewPr>
  <p:slideViewPr>
    <p:cSldViewPr snapToGrid="0">
      <p:cViewPr varScale="1">
        <p:scale>
          <a:sx n="77" d="100"/>
          <a:sy n="77" d="100"/>
        </p:scale>
        <p:origin x="216" y="108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0.fntdata"/><Relationship Id="rId21" Type="http://schemas.openxmlformats.org/officeDocument/2006/relationships/slide" Target="slides/slide16.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handoutMaster" Target="handoutMasters/handoutMaster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0" Type="http://schemas.openxmlformats.org/officeDocument/2006/relationships/slide" Target="slides/slide15.xml"/><Relationship Id="rId41" Type="http://schemas.openxmlformats.org/officeDocument/2006/relationships/font" Target="fonts/font12.fntdata"/><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openxmlformats.org/officeDocument/2006/relationships/font" Target="fonts/font7.fntdata"/><Relationship Id="rId49" Type="http://schemas.openxmlformats.org/officeDocument/2006/relationships/tags" Target="tags/tag1.xml"/></Relationships>
</file>

<file path=ppt/comments/modernComment_100_0.xml><?xml version="1.0" encoding="utf-8"?>
<p188:cmLst xmlns:a="http://schemas.openxmlformats.org/drawingml/2006/main" xmlns:r="http://schemas.openxmlformats.org/officeDocument/2006/relationships" xmlns:p188="http://schemas.microsoft.com/office/powerpoint/2018/8/main">
  <p188:cm id="{1CE3CDE3-E34F-A44D-97DE-92A7833DF878}" authorId="{A165DA5C-D337-E20D-E110-F3C410709050}" created="2025-11-17T14:00:19.484">
    <pc:sldMkLst xmlns:pc="http://schemas.microsoft.com/office/powerpoint/2013/main/command">
      <pc:docMk/>
      <pc:sldMk cId="0" sldId="256"/>
    </pc:sldMkLst>
    <p188:txBody>
      <a:bodyPr/>
      <a:lstStyle/>
      <a:p>
        <a:r>
          <a:rPr lang="en-US"/>
          <a:t>Attn airline profile and the Expedia one her is strange. Also airline profile is more about transport than anything else the rest is just a nice free usable perk
</a:t>
        </a:r>
      </a:p>
    </p188:txBody>
  </p188:cm>
</p188:cmLst>
</file>

<file path=ppt/comments/modernComment_7FFFD783_F9F13479.xml><?xml version="1.0" encoding="utf-8"?>
<p188:cmLst xmlns:a="http://schemas.openxmlformats.org/drawingml/2006/main" xmlns:r="http://schemas.openxmlformats.org/officeDocument/2006/relationships" xmlns:p188="http://schemas.microsoft.com/office/powerpoint/2018/8/main">
  <p188:cm id="{16A61497-B11D-F64D-B0B3-0B48343DAA6A}" authorId="{A165DA5C-D337-E20D-E110-F3C410709050}" created="2025-11-17T09:21:01.337">
    <pc:sldMkLst xmlns:pc="http://schemas.microsoft.com/office/powerpoint/2013/main/command">
      <pc:docMk/>
      <pc:sldMk cId="4193334393" sldId="2147473283"/>
    </pc:sldMkLst>
    <p188:txBody>
      <a:bodyPr/>
      <a:lstStyle/>
      <a:p>
        <a:r>
          <a:rPr lang="en-US"/>
          <a:t>the taxonomy benefit is more than taht searchability, comparability, process control, business rules enablement and more ... 
Purpose is not limited to customer facing tags taxonomy works also behind the scenes for alignement etc ...
</a:t>
        </a:r>
      </a:p>
    </p188:txBody>
  </p188:cm>
  <p188:cm id="{CDDDE611-AE07-2544-A1CE-7F8A4718F6DE}" authorId="{A165DA5C-D337-E20D-E110-F3C410709050}" created="2025-11-17T09:21:41.099">
    <ac:txMkLst xmlns:ac="http://schemas.microsoft.com/office/drawing/2013/main/command">
      <pc:docMk xmlns:pc="http://schemas.microsoft.com/office/powerpoint/2013/main/command"/>
      <pc:sldMk xmlns:pc="http://schemas.microsoft.com/office/powerpoint/2013/main/command" cId="4193334393" sldId="2147473283"/>
      <ac:spMk id="63" creationId="{6BC96EF2-CABD-281C-FD96-999D99D6F0D0}"/>
      <ac:txMk cp="0" len="10">
        <ac:context len="11" hash="785042772"/>
      </ac:txMk>
    </ac:txMkLst>
    <p188:pos x="921078" y="323875"/>
    <p188:txBody>
      <a:bodyPr/>
      <a:lstStyle/>
      <a:p>
        <a:r>
          <a:rPr lang="en-US"/>
          <a:t>not attributes but features if we want to be consistent with the rest of our dcoumentation</a:t>
        </a:r>
      </a:p>
    </p188:txBody>
  </p188:cm>
</p188:cmLst>
</file>

<file path=ppt/comments/modernComment_7FFFFFF2_213D9A13.xml><?xml version="1.0" encoding="utf-8"?>
<p188:cmLst xmlns:a="http://schemas.openxmlformats.org/drawingml/2006/main" xmlns:r="http://schemas.openxmlformats.org/officeDocument/2006/relationships" xmlns:p188="http://schemas.microsoft.com/office/powerpoint/2018/8/main">
  <p188:cm id="{C2A85855-E610-9B4D-AE6D-2ED0D772D679}" authorId="{A165DA5C-D337-E20D-E110-F3C410709050}" created="2025-11-17T09:19:12.284">
    <pc:sldMkLst xmlns:pc="http://schemas.microsoft.com/office/powerpoint/2013/main/command">
      <pc:docMk/>
      <pc:sldMk cId="557685267" sldId="2147483634"/>
    </pc:sldMkLst>
    <p188:txBody>
      <a:bodyPr/>
      <a:lstStyle/>
      <a:p>
        <a:r>
          <a:rPr lang="en-US"/>
          <a:t>Don't use legs here which is a operational thing and we do not use it maybe replace by segments which is the sellable atomic level
</a:t>
        </a:r>
      </a:p>
    </p188:txBody>
  </p188:cm>
</p188:cmLst>
</file>

<file path=ppt/comments/modernComment_7FFFFFF3_8CF446FE.xml><?xml version="1.0" encoding="utf-8"?>
<p188:cmLst xmlns:a="http://schemas.openxmlformats.org/drawingml/2006/main" xmlns:r="http://schemas.openxmlformats.org/officeDocument/2006/relationships" xmlns:p188="http://schemas.microsoft.com/office/powerpoint/2018/8/main">
  <p188:cm id="{59FF3FE6-4979-AF41-A0FE-9A80E056BF50}" authorId="{A165DA5C-D337-E20D-E110-F3C410709050}" created="2025-11-17T09:27:45.139">
    <pc:sldMkLst xmlns:pc="http://schemas.microsoft.com/office/powerpoint/2013/main/command">
      <pc:docMk/>
      <pc:sldMk cId="2364819198" sldId="2147483635"/>
    </pc:sldMkLst>
    <p188:txBody>
      <a:bodyPr/>
      <a:lstStyle/>
      <a:p>
        <a:r>
          <a:rPr lang="en-US"/>
          <a:t>hmm that may be a bit confusing as you do not see where the OD1/OD2 etc are comming from 
As of now we have a 'special' type of products based  on the Origin/Destination Pair schema which doesn't show up in the Airline A'S Product cataloge Maybe rightfully so but hthe tha irlines systems need a machanic to produce those representations somehow to be communicated just like any other product to the seller.</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FD0FF8E-AD6C-48C6-BCA2-9941E1E3A200}"/>
              </a:ext>
            </a:extLst>
          </p:cNvPr>
          <p:cNvSpPr>
            <a:spLocks noGrp="1"/>
          </p:cNvSpPr>
          <p:nvPr>
            <p:ph type="hdr" sz="quarter"/>
          </p:nvPr>
        </p:nvSpPr>
        <p:spPr>
          <a:xfrm>
            <a:off x="477980" y="0"/>
            <a:ext cx="2784765" cy="458788"/>
          </a:xfrm>
          <a:prstGeom prst="rect">
            <a:avLst/>
          </a:prstGeom>
        </p:spPr>
        <p:txBody>
          <a:bodyPr vert="horz" lIns="91440" tIns="45720" rIns="91440" bIns="45720" rtlCol="0" anchor="b" anchorCtr="0"/>
          <a:lstStyle>
            <a:lvl1pPr algn="l">
              <a:defRPr sz="1200"/>
            </a:lvl1pPr>
          </a:lstStyle>
          <a:p>
            <a:endParaRPr lang="en-US" sz="1000"/>
          </a:p>
        </p:txBody>
      </p:sp>
      <p:sp>
        <p:nvSpPr>
          <p:cNvPr id="3" name="Date Placeholder 2">
            <a:extLst>
              <a:ext uri="{FF2B5EF4-FFF2-40B4-BE49-F238E27FC236}">
                <a16:creationId xmlns:a16="http://schemas.microsoft.com/office/drawing/2014/main" id="{87AE2D18-DC98-444A-8A8A-7D09977137AB}"/>
              </a:ext>
            </a:extLst>
          </p:cNvPr>
          <p:cNvSpPr>
            <a:spLocks noGrp="1"/>
          </p:cNvSpPr>
          <p:nvPr>
            <p:ph type="dt" sz="quarter" idx="1"/>
          </p:nvPr>
        </p:nvSpPr>
        <p:spPr>
          <a:xfrm>
            <a:off x="3595257" y="0"/>
            <a:ext cx="2784763" cy="458788"/>
          </a:xfrm>
          <a:prstGeom prst="rect">
            <a:avLst/>
          </a:prstGeom>
        </p:spPr>
        <p:txBody>
          <a:bodyPr vert="horz" lIns="91440" tIns="45720" rIns="91440" bIns="45720" rtlCol="0" anchor="b" anchorCtr="0"/>
          <a:lstStyle>
            <a:lvl1pPr algn="r">
              <a:defRPr sz="1200"/>
            </a:lvl1pPr>
          </a:lstStyle>
          <a:p>
            <a:fld id="{C742B7D5-EC82-44F6-A7E1-F7BEEB78D862}" type="datetimeFigureOut">
              <a:rPr lang="en-US" sz="1000" smtClean="0"/>
              <a:t>11/17/25</a:t>
            </a:fld>
            <a:endParaRPr lang="en-US" sz="1000"/>
          </a:p>
        </p:txBody>
      </p:sp>
      <p:sp>
        <p:nvSpPr>
          <p:cNvPr id="4" name="Footer Placeholder 3">
            <a:extLst>
              <a:ext uri="{FF2B5EF4-FFF2-40B4-BE49-F238E27FC236}">
                <a16:creationId xmlns:a16="http://schemas.microsoft.com/office/drawing/2014/main" id="{7138B8B2-A215-46EA-ACE8-421665D33BA8}"/>
              </a:ext>
            </a:extLst>
          </p:cNvPr>
          <p:cNvSpPr>
            <a:spLocks noGrp="1"/>
          </p:cNvSpPr>
          <p:nvPr>
            <p:ph type="ftr" sz="quarter" idx="2"/>
          </p:nvPr>
        </p:nvSpPr>
        <p:spPr>
          <a:xfrm>
            <a:off x="1184563" y="8685213"/>
            <a:ext cx="4249881" cy="458787"/>
          </a:xfrm>
          <a:prstGeom prst="rect">
            <a:avLst/>
          </a:prstGeom>
        </p:spPr>
        <p:txBody>
          <a:bodyPr vert="horz" lIns="91440" tIns="45720" rIns="91440" bIns="45720" rtlCol="0" anchor="t" anchorCtr="0"/>
          <a:lstStyle>
            <a:lvl1pPr algn="l">
              <a:defRPr sz="1200"/>
            </a:lvl1pPr>
          </a:lstStyle>
          <a:p>
            <a:endParaRPr lang="en-US" sz="1000"/>
          </a:p>
        </p:txBody>
      </p:sp>
      <p:sp>
        <p:nvSpPr>
          <p:cNvPr id="5" name="Slide Number Placeholder 4">
            <a:extLst>
              <a:ext uri="{FF2B5EF4-FFF2-40B4-BE49-F238E27FC236}">
                <a16:creationId xmlns:a16="http://schemas.microsoft.com/office/drawing/2014/main" id="{62B1F3DC-01D1-4439-A13F-6E96C67139AB}"/>
              </a:ext>
            </a:extLst>
          </p:cNvPr>
          <p:cNvSpPr>
            <a:spLocks noGrp="1"/>
          </p:cNvSpPr>
          <p:nvPr>
            <p:ph type="sldNum" sz="quarter" idx="3"/>
          </p:nvPr>
        </p:nvSpPr>
        <p:spPr>
          <a:xfrm>
            <a:off x="477982" y="8685213"/>
            <a:ext cx="488372" cy="458787"/>
          </a:xfrm>
          <a:prstGeom prst="rect">
            <a:avLst/>
          </a:prstGeom>
        </p:spPr>
        <p:txBody>
          <a:bodyPr vert="horz" lIns="91440" tIns="45720" rIns="91440" bIns="45720" rtlCol="0" anchor="t" anchorCtr="0"/>
          <a:lstStyle>
            <a:lvl1pPr algn="r">
              <a:defRPr sz="1200"/>
            </a:lvl1pPr>
          </a:lstStyle>
          <a:p>
            <a:pPr algn="l"/>
            <a:fld id="{9D865D99-2DA9-452F-AC6C-1E9B05A5072B}" type="slidenum">
              <a:rPr lang="en-US" sz="1000" smtClean="0"/>
              <a:pPr algn="l"/>
              <a:t>‹N°›</a:t>
            </a:fld>
            <a:endParaRPr lang="en-US" sz="1000"/>
          </a:p>
        </p:txBody>
      </p:sp>
      <p:sp>
        <p:nvSpPr>
          <p:cNvPr id="6" name="Freeform 5">
            <a:extLst>
              <a:ext uri="{FF2B5EF4-FFF2-40B4-BE49-F238E27FC236}">
                <a16:creationId xmlns:a16="http://schemas.microsoft.com/office/drawing/2014/main" id="{58AB3F47-462C-4908-95C9-67DEF5E02D9E}"/>
              </a:ext>
            </a:extLst>
          </p:cNvPr>
          <p:cNvSpPr>
            <a:spLocks noChangeAspect="1" noEditPoints="1"/>
          </p:cNvSpPr>
          <p:nvPr/>
        </p:nvSpPr>
        <p:spPr bwMode="auto">
          <a:xfrm>
            <a:off x="5647408" y="8371060"/>
            <a:ext cx="732609" cy="458789"/>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850329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85799" y="0"/>
            <a:ext cx="3480956" cy="458788"/>
          </a:xfrm>
          <a:prstGeom prst="rect">
            <a:avLst/>
          </a:prstGeom>
        </p:spPr>
        <p:txBody>
          <a:bodyPr vert="horz" lIns="91440" tIns="45720" rIns="91440" bIns="45720" rtlCol="0" anchor="b" anchorCtr="0"/>
          <a:lstStyle>
            <a:lvl1pPr algn="l">
              <a:defRPr sz="1000"/>
            </a:lvl1pPr>
          </a:lstStyle>
          <a:p>
            <a:endParaRPr lang="en-US"/>
          </a:p>
        </p:txBody>
      </p:sp>
      <p:sp>
        <p:nvSpPr>
          <p:cNvPr id="3" name="Date Placeholder 2"/>
          <p:cNvSpPr>
            <a:spLocks noGrp="1"/>
          </p:cNvSpPr>
          <p:nvPr>
            <p:ph type="dt" idx="1"/>
          </p:nvPr>
        </p:nvSpPr>
        <p:spPr>
          <a:xfrm>
            <a:off x="4478482" y="0"/>
            <a:ext cx="1692131" cy="458788"/>
          </a:xfrm>
          <a:prstGeom prst="rect">
            <a:avLst/>
          </a:prstGeom>
        </p:spPr>
        <p:txBody>
          <a:bodyPr vert="horz" lIns="91440" tIns="45720" rIns="91440" bIns="45720" rtlCol="0" anchor="b" anchorCtr="0"/>
          <a:lstStyle>
            <a:lvl1pPr algn="r">
              <a:defRPr sz="1000"/>
            </a:lvl1pPr>
          </a:lstStyle>
          <a:p>
            <a:fld id="{E79CEAD0-6B03-44FC-A844-68ECB8F6C6E8}" type="datetimeFigureOut">
              <a:rPr lang="en-US" smtClean="0"/>
              <a:pPr/>
              <a:t>11/17/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485900" y="8685213"/>
            <a:ext cx="4686300" cy="458787"/>
          </a:xfrm>
          <a:prstGeom prst="rect">
            <a:avLst/>
          </a:prstGeom>
        </p:spPr>
        <p:txBody>
          <a:bodyPr vert="horz" lIns="91440" tIns="45720" rIns="91440" bIns="45720" rtlCol="0" anchor="t" anchorCtr="0"/>
          <a:lstStyle>
            <a:lvl1pPr algn="l">
              <a:defRPr sz="1000"/>
            </a:lvl1pPr>
          </a:lstStyle>
          <a:p>
            <a:endParaRPr lang="en-US"/>
          </a:p>
        </p:txBody>
      </p:sp>
      <p:sp>
        <p:nvSpPr>
          <p:cNvPr id="7" name="Slide Number Placeholder 6"/>
          <p:cNvSpPr>
            <a:spLocks noGrp="1"/>
          </p:cNvSpPr>
          <p:nvPr>
            <p:ph type="sldNum" sz="quarter" idx="5"/>
          </p:nvPr>
        </p:nvSpPr>
        <p:spPr>
          <a:xfrm>
            <a:off x="685800" y="8685213"/>
            <a:ext cx="521132" cy="458787"/>
          </a:xfrm>
          <a:prstGeom prst="rect">
            <a:avLst/>
          </a:prstGeom>
        </p:spPr>
        <p:txBody>
          <a:bodyPr vert="horz" lIns="91440" tIns="45720" rIns="91440" bIns="45720" rtlCol="0" anchor="t" anchorCtr="0"/>
          <a:lstStyle>
            <a:lvl1pPr algn="l">
              <a:defRPr sz="1000"/>
            </a:lvl1pPr>
          </a:lstStyle>
          <a:p>
            <a:fld id="{F17EFD21-3E0D-4ED5-96F2-31052EE08DB7}" type="slidenum">
              <a:rPr lang="en-US" smtClean="0"/>
              <a:pPr/>
              <a:t>‹N°›</a:t>
            </a:fld>
            <a:endParaRPr lang="en-US"/>
          </a:p>
        </p:txBody>
      </p:sp>
    </p:spTree>
    <p:extLst>
      <p:ext uri="{BB962C8B-B14F-4D97-AF65-F5344CB8AC3E}">
        <p14:creationId xmlns:p14="http://schemas.microsoft.com/office/powerpoint/2010/main" val="517517962"/>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Arial" panose="020B0604020202020204" pitchFamily="34" charset="0"/>
      <a:buNone/>
      <a:defRPr sz="1100" kern="1200">
        <a:solidFill>
          <a:schemeClr val="tx1"/>
        </a:solidFill>
        <a:latin typeface="+mj-lt"/>
        <a:ea typeface="+mn-ea"/>
        <a:cs typeface="+mn-cs"/>
      </a:defRPr>
    </a:lvl1pPr>
    <a:lvl2pPr marL="341313" indent="-168275" algn="l" defTabSz="914400" rtl="0" eaLnBrk="1" latinLnBrk="0" hangingPunct="1">
      <a:buFont typeface="Aktiv Grotesk" panose="020B0504020202020204" pitchFamily="34" charset="0"/>
      <a:buChar char="•"/>
      <a:defRPr sz="1100" kern="1200">
        <a:solidFill>
          <a:schemeClr val="tx1"/>
        </a:solidFill>
        <a:latin typeface="+mn-lt"/>
        <a:ea typeface="+mn-ea"/>
        <a:cs typeface="+mn-cs"/>
      </a:defRPr>
    </a:lvl2pPr>
    <a:lvl3pPr marL="514350" indent="-171450" algn="l" defTabSz="914400" rtl="0" eaLnBrk="1" latinLnBrk="0" hangingPunct="1">
      <a:buFont typeface="Aktiv Grotesk" panose="020B0504020202020204" pitchFamily="34" charset="0"/>
      <a:buChar char="−"/>
      <a:defRPr sz="1100" kern="1200">
        <a:solidFill>
          <a:schemeClr val="tx1"/>
        </a:solidFill>
        <a:latin typeface="+mn-lt"/>
        <a:ea typeface="+mn-ea"/>
        <a:cs typeface="+mn-cs"/>
      </a:defRPr>
    </a:lvl3pPr>
    <a:lvl4pPr marL="628650" indent="-171450" algn="l" defTabSz="914400" rtl="0" eaLnBrk="1" latinLnBrk="0" hangingPunct="1">
      <a:buFont typeface="Aktiv Grotesk" panose="020B0504020202020204" pitchFamily="34" charset="0"/>
      <a:buChar char="▪"/>
      <a:defRPr sz="1100" kern="1200">
        <a:solidFill>
          <a:schemeClr val="tx1"/>
        </a:solidFill>
        <a:latin typeface="+mn-lt"/>
        <a:ea typeface="+mn-ea"/>
        <a:cs typeface="+mn-cs"/>
      </a:defRPr>
    </a:lvl4pPr>
    <a:lvl5pPr marL="0" indent="0" algn="l" defTabSz="914400" rtl="0" eaLnBrk="1" latinLnBrk="0" hangingPunct="1">
      <a:defRPr sz="1100" kern="1200">
        <a:solidFill>
          <a:srgbClr val="1E32FA"/>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6BDB07F-23F3-B14E-8278-C40492CF7A04}" type="slidenum">
              <a:rPr lang="en-US" smtClean="0"/>
              <a:t>1</a:t>
            </a:fld>
            <a:endParaRPr lang="en-US"/>
          </a:p>
        </p:txBody>
      </p:sp>
    </p:spTree>
    <p:extLst>
      <p:ext uri="{BB962C8B-B14F-4D97-AF65-F5344CB8AC3E}">
        <p14:creationId xmlns:p14="http://schemas.microsoft.com/office/powerpoint/2010/main" val="2776236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45919B-7906-4218-AA3A-D73BE8602C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290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201C4-7826-1C3E-DFE5-67AEEAE6AF9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2F95CE2-4556-6106-5584-2D9D801EA0C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C759E92-F42C-F43D-E6AF-5F077724E0B9}"/>
              </a:ext>
            </a:extLst>
          </p:cNvPr>
          <p:cNvSpPr>
            <a:spLocks noGrp="1"/>
          </p:cNvSpPr>
          <p:nvPr>
            <p:ph type="body" idx="1"/>
          </p:nvPr>
        </p:nvSpPr>
        <p:spPr/>
        <p:txBody>
          <a:bodyPr/>
          <a:lstStyle/>
          <a:p>
            <a:r>
              <a:rPr lang="en-US" sz="1200" b="1" dirty="0">
                <a:latin typeface="Montserrat" pitchFamily="2" charset="77"/>
              </a:rPr>
              <a:t>and where APMWG is in the lead and where handover is happening to imple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ontserrat" pitchFamily="2" charset="77"/>
              </a:rPr>
              <a:t>For our purpose we shall only consider here the information objects ( catalogs and their information content, product definition, product schema, products as well as the taxonomy ) and highlight those in the LVL2 and LVL3 process designs as need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ontserrat" pitchFamily="2" charset="77"/>
            </a:endParaRPr>
          </a:p>
          <a:p>
            <a:r>
              <a:rPr lang="en-US" b="1" dirty="0"/>
              <a:t>Level 2: Enter into Agreement</a:t>
            </a:r>
          </a:p>
          <a:p>
            <a:r>
              <a:rPr lang="en-US" b="1" dirty="0"/>
              <a:t>Meaning:</a:t>
            </a:r>
          </a:p>
          <a:p>
            <a:r>
              <a:rPr lang="en-US" dirty="0"/>
              <a:t>This is the </a:t>
            </a:r>
            <a:r>
              <a:rPr lang="en-US" b="1" dirty="0"/>
              <a:t>foundation step</a:t>
            </a:r>
            <a:r>
              <a:rPr lang="en-US" dirty="0"/>
              <a:t> when two parties (e.g., Lufthansa and Singapore Airlines) establish their </a:t>
            </a:r>
            <a:r>
              <a:rPr lang="en-US" b="1" dirty="0"/>
              <a:t>bilateral retailing relationship</a:t>
            </a:r>
            <a:r>
              <a:rPr lang="en-US" dirty="0"/>
              <a:t>.</a:t>
            </a:r>
            <a:br>
              <a:rPr lang="en-US" dirty="0"/>
            </a:br>
            <a:r>
              <a:rPr lang="en-US" dirty="0"/>
              <a:t>They define:</a:t>
            </a:r>
          </a:p>
          <a:p>
            <a:r>
              <a:rPr lang="en-US" dirty="0"/>
              <a:t>Which products can be sold</a:t>
            </a:r>
          </a:p>
          <a:p>
            <a:r>
              <a:rPr lang="en-US" dirty="0"/>
              <a:t>How they are described</a:t>
            </a:r>
          </a:p>
          <a:p>
            <a:r>
              <a:rPr lang="en-US" dirty="0"/>
              <a:t>How both sides interpret and exchange product information</a:t>
            </a:r>
          </a:p>
          <a:p>
            <a:r>
              <a:rPr lang="en-US" b="1" dirty="0"/>
              <a:t>Levels of detail:</a:t>
            </a:r>
          </a:p>
          <a:p>
            <a:r>
              <a:rPr lang="en-US" b="1" dirty="0"/>
              <a:t>Level 3: Create → Execute → Maintain</a:t>
            </a:r>
            <a:br>
              <a:rPr lang="en-US" dirty="0"/>
            </a:br>
            <a:r>
              <a:rPr lang="en-US" dirty="0"/>
              <a:t>→ The lifecycle of the agreement — it’s created, put into effect, and updated as needed.</a:t>
            </a:r>
          </a:p>
          <a:p>
            <a:r>
              <a:rPr lang="en-US" b="1" dirty="0"/>
              <a:t>Level 4 details:</a:t>
            </a:r>
            <a:endParaRPr lang="en-US" dirty="0"/>
          </a:p>
          <a:p>
            <a:pPr lvl="1"/>
            <a:r>
              <a:rPr lang="en-US" dirty="0"/>
              <a:t>Select which products the retailer will sell from the supplier’s catalogue</a:t>
            </a:r>
          </a:p>
          <a:p>
            <a:pPr lvl="1"/>
            <a:r>
              <a:rPr lang="en-US" dirty="0"/>
              <a:t>Align or extend </a:t>
            </a:r>
            <a:r>
              <a:rPr lang="en-US" b="1" dirty="0"/>
              <a:t>product schemas</a:t>
            </a:r>
            <a:r>
              <a:rPr lang="en-US" dirty="0"/>
              <a:t> (so both parties speak the same structural “language”)</a:t>
            </a:r>
          </a:p>
          <a:p>
            <a:pPr lvl="1"/>
            <a:r>
              <a:rPr lang="en-US" dirty="0"/>
              <a:t>Align or extend the </a:t>
            </a:r>
            <a:r>
              <a:rPr lang="en-US" b="1" dirty="0"/>
              <a:t>taxonomy</a:t>
            </a:r>
            <a:r>
              <a:rPr lang="en-US" dirty="0"/>
              <a:t> (so they use the same terminology, e.g., “seat type,” “meal type,” etc.)</a:t>
            </a:r>
          </a:p>
          <a:p>
            <a:r>
              <a:rPr lang="en-US" dirty="0"/>
              <a:t>✅ </a:t>
            </a:r>
            <a:r>
              <a:rPr lang="en-US" b="1" dirty="0"/>
              <a:t>In practice:</a:t>
            </a:r>
            <a:br>
              <a:rPr lang="en-US" dirty="0"/>
            </a:br>
            <a:r>
              <a:rPr lang="en-US" dirty="0"/>
              <a:t>This ensures that Airline A and Airline B both interpret “Premium Seat” or “Lounge Access” the same way before they ever exchange data.</a:t>
            </a:r>
          </a:p>
          <a:p>
            <a:endParaRPr lang="en-US" dirty="0"/>
          </a:p>
          <a:p>
            <a:r>
              <a:rPr lang="en-US" b="1" dirty="0"/>
              <a:t>Level 2: Product Management</a:t>
            </a:r>
          </a:p>
          <a:p>
            <a:r>
              <a:rPr lang="en-US" b="1" dirty="0"/>
              <a:t>Meaning:</a:t>
            </a:r>
          </a:p>
          <a:p>
            <a:r>
              <a:rPr lang="en-US" dirty="0"/>
              <a:t>Once the agreement exists, both parties must </a:t>
            </a:r>
            <a:r>
              <a:rPr lang="en-US" b="1" dirty="0"/>
              <a:t>manage their product data</a:t>
            </a:r>
            <a:r>
              <a:rPr lang="en-US" dirty="0"/>
              <a:t> on an ongoing basis.</a:t>
            </a:r>
          </a:p>
          <a:p>
            <a:r>
              <a:rPr lang="en-US" dirty="0"/>
              <a:t>This covers:</a:t>
            </a:r>
          </a:p>
          <a:p>
            <a:r>
              <a:rPr lang="en-US" dirty="0"/>
              <a:t>Defining, packaging, and sharing the supplier’s catalogue with the retailer(s)</a:t>
            </a:r>
          </a:p>
          <a:p>
            <a:r>
              <a:rPr lang="en-US" dirty="0"/>
              <a:t>Ensuring data stays synchronized across updates</a:t>
            </a:r>
          </a:p>
          <a:p>
            <a:r>
              <a:rPr lang="en-US" b="1" dirty="0"/>
              <a:t>Levels of detail:</a:t>
            </a:r>
          </a:p>
          <a:p>
            <a:r>
              <a:rPr lang="en-US" b="1" dirty="0"/>
              <a:t>Level 3: Supplier creates initial supplier catalogue artefacts</a:t>
            </a:r>
            <a:endParaRPr lang="en-US" dirty="0"/>
          </a:p>
          <a:p>
            <a:pPr lvl="1"/>
            <a:r>
              <a:rPr lang="en-US" dirty="0"/>
              <a:t>Includes: product schemas, taxonomy, product definitions, and rules.</a:t>
            </a:r>
          </a:p>
          <a:p>
            <a:r>
              <a:rPr lang="en-US" b="1" dirty="0"/>
              <a:t>Level 3: Send supplier catalogue artefacts to retailer(s)</a:t>
            </a:r>
            <a:endParaRPr lang="en-US" dirty="0"/>
          </a:p>
          <a:p>
            <a:pPr lvl="1"/>
            <a:r>
              <a:rPr lang="en-US" b="1" dirty="0"/>
              <a:t>Level 4 actions:</a:t>
            </a:r>
            <a:endParaRPr lang="en-US" dirty="0"/>
          </a:p>
          <a:p>
            <a:pPr lvl="2"/>
            <a:r>
              <a:rPr lang="en-US" i="1" dirty="0"/>
              <a:t>Serialize → Package → Send</a:t>
            </a:r>
            <a:r>
              <a:rPr lang="en-US" dirty="0"/>
              <a:t> (supplier side)</a:t>
            </a:r>
          </a:p>
          <a:p>
            <a:pPr lvl="2"/>
            <a:r>
              <a:rPr lang="en-US" i="1" dirty="0"/>
              <a:t>Receive → Unpack → Deserialize</a:t>
            </a:r>
            <a:r>
              <a:rPr lang="en-US" dirty="0"/>
              <a:t> (retailer side)</a:t>
            </a:r>
          </a:p>
          <a:p>
            <a:r>
              <a:rPr lang="en-US" b="1" dirty="0"/>
              <a:t>Level 3: Status change</a:t>
            </a:r>
            <a:endParaRPr lang="en-US" dirty="0"/>
          </a:p>
          <a:p>
            <a:pPr lvl="1"/>
            <a:r>
              <a:rPr lang="en-US" dirty="0"/>
              <a:t>Whenever a product changes (e.g., updated meal type, new seat option),</a:t>
            </a:r>
            <a:br>
              <a:rPr lang="en-US" dirty="0"/>
            </a:br>
            <a:r>
              <a:rPr lang="en-US" dirty="0"/>
              <a:t>the supplier maintains its catalogue and sends “delta updates” to the retailer(s).</a:t>
            </a:r>
          </a:p>
          <a:p>
            <a:pPr lvl="1"/>
            <a:endParaRPr lang="en-US" b="1" dirty="0"/>
          </a:p>
          <a:p>
            <a:pPr marL="173038" lvl="1" indent="0">
              <a:buNone/>
            </a:pPr>
            <a:r>
              <a:rPr lang="en-US" b="1" dirty="0"/>
              <a:t>In practice:</a:t>
            </a:r>
            <a:br>
              <a:rPr lang="en-US" dirty="0"/>
            </a:br>
            <a:r>
              <a:rPr lang="en-US" dirty="0"/>
              <a:t>This ensures that when an airline changes, adds, or removes a product, all partner systems remain aligned and consistent.</a:t>
            </a:r>
          </a:p>
          <a:p>
            <a:endParaRPr lang="en-US" dirty="0"/>
          </a:p>
          <a:p>
            <a:r>
              <a:rPr lang="en-US" sz="1200" b="1" dirty="0"/>
              <a:t>Level 2: Supplier Offer</a:t>
            </a:r>
          </a:p>
          <a:p>
            <a:r>
              <a:rPr lang="en-US" sz="1200" b="1" dirty="0"/>
              <a:t>Meaning:</a:t>
            </a:r>
          </a:p>
          <a:p>
            <a:r>
              <a:rPr lang="en-US" sz="1200" dirty="0"/>
              <a:t>At this stage, the </a:t>
            </a:r>
            <a:r>
              <a:rPr lang="en-US" sz="1200" b="1" dirty="0"/>
              <a:t>retailer requests actual offers</a:t>
            </a:r>
            <a:r>
              <a:rPr lang="en-US" sz="1200" dirty="0"/>
              <a:t> from the supplier using the catalogue as the basis.</a:t>
            </a:r>
          </a:p>
          <a:p>
            <a:r>
              <a:rPr lang="en-US" sz="1200" dirty="0"/>
              <a:t>Now that the data is standardized and aligned, the retailer can dynamically generate offers for customers.</a:t>
            </a:r>
          </a:p>
          <a:p>
            <a:r>
              <a:rPr lang="en-US" sz="1200" dirty="0"/>
              <a:t>This is the </a:t>
            </a:r>
            <a:r>
              <a:rPr lang="en-US" sz="1200" b="1" dirty="0"/>
              <a:t>operational use case</a:t>
            </a:r>
            <a:r>
              <a:rPr lang="en-US" sz="1200" dirty="0"/>
              <a:t> of all the previous steps.</a:t>
            </a:r>
          </a:p>
          <a:p>
            <a:r>
              <a:rPr lang="en-US" sz="1200" b="1" dirty="0"/>
              <a:t>Details:</a:t>
            </a:r>
          </a:p>
          <a:p>
            <a:r>
              <a:rPr lang="en-US" sz="1200" dirty="0"/>
              <a:t>The product catalogue is used to request offers from the supplier.</a:t>
            </a:r>
          </a:p>
          <a:p>
            <a:r>
              <a:rPr lang="en-US" sz="1200" dirty="0"/>
              <a:t>This applies to all products controlled by the supplier (stock, pricing, delivery).</a:t>
            </a:r>
          </a:p>
          <a:p>
            <a:r>
              <a:rPr lang="en-US" sz="1200" dirty="0"/>
              <a:t>This process is part of the </a:t>
            </a:r>
            <a:r>
              <a:rPr lang="en-US" sz="1200" b="1" dirty="0"/>
              <a:t>End-to-End (E2E)</a:t>
            </a:r>
            <a:r>
              <a:rPr lang="en-US" sz="1200" dirty="0"/>
              <a:t> offer flow- from product definition to offer creation.</a:t>
            </a:r>
          </a:p>
          <a:p>
            <a:r>
              <a:rPr lang="en-US" sz="1200" dirty="0"/>
              <a:t>✅ </a:t>
            </a:r>
            <a:r>
              <a:rPr lang="en-US" sz="1200" b="1" dirty="0"/>
              <a:t>In practice:</a:t>
            </a:r>
            <a:br>
              <a:rPr lang="en-US" sz="1200" dirty="0"/>
            </a:br>
            <a:r>
              <a:rPr lang="en-US" sz="1200" dirty="0"/>
              <a:t>When a traveler searches for a flight on a retailer’s site (e.g., a partner airline or OTA), the retailer’s system requests offers from the supplier airline using the aligned product catalogue and profile defini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ontserrat" pitchFamily="2" charset="77"/>
            </a:endParaRPr>
          </a:p>
          <a:p>
            <a:endParaRPr lang="en-US" dirty="0"/>
          </a:p>
        </p:txBody>
      </p:sp>
      <p:sp>
        <p:nvSpPr>
          <p:cNvPr id="4" name="Espace réservé du numéro de diapositive 3">
            <a:extLst>
              <a:ext uri="{FF2B5EF4-FFF2-40B4-BE49-F238E27FC236}">
                <a16:creationId xmlns:a16="http://schemas.microsoft.com/office/drawing/2014/main" id="{83C75C63-22C4-75A8-AC81-1CA3802938B6}"/>
              </a:ext>
            </a:extLst>
          </p:cNvPr>
          <p:cNvSpPr>
            <a:spLocks noGrp="1"/>
          </p:cNvSpPr>
          <p:nvPr>
            <p:ph type="sldNum" sz="quarter" idx="5"/>
          </p:nvPr>
        </p:nvSpPr>
        <p:spPr/>
        <p:txBody>
          <a:bodyPr/>
          <a:lstStyle/>
          <a:p>
            <a:fld id="{D59BF1CB-051C-214C-8967-44987813EE10}" type="slidenum">
              <a:rPr lang="en-US" smtClean="0"/>
              <a:t>22</a:t>
            </a:fld>
            <a:endParaRPr lang="en-US"/>
          </a:p>
        </p:txBody>
      </p:sp>
    </p:spTree>
    <p:extLst>
      <p:ext uri="{BB962C8B-B14F-4D97-AF65-F5344CB8AC3E}">
        <p14:creationId xmlns:p14="http://schemas.microsoft.com/office/powerpoint/2010/main" val="3668390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D59BF1CB-051C-214C-8967-44987813EE10}" type="slidenum">
              <a:rPr lang="en-US" smtClean="0"/>
              <a:t>2</a:t>
            </a:fld>
            <a:endParaRPr lang="en-US"/>
          </a:p>
        </p:txBody>
      </p:sp>
    </p:spTree>
    <p:extLst>
      <p:ext uri="{BB962C8B-B14F-4D97-AF65-F5344CB8AC3E}">
        <p14:creationId xmlns:p14="http://schemas.microsoft.com/office/powerpoint/2010/main" val="2424048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iagram illustrates the difference between an </a:t>
            </a:r>
            <a:r>
              <a:rPr lang="en-US" b="1" dirty="0"/>
              <a:t>Airline’s Own Product Catalogue</a:t>
            </a:r>
            <a:r>
              <a:rPr lang="en-US" dirty="0"/>
              <a:t> and the </a:t>
            </a:r>
            <a:r>
              <a:rPr lang="en-US" b="1" dirty="0"/>
              <a:t>Supplier Catalogues</a:t>
            </a:r>
            <a:r>
              <a:rPr lang="en-US" dirty="0"/>
              <a:t> it shares with partner airlines or intermodal operators.</a:t>
            </a:r>
          </a:p>
          <a:p>
            <a:r>
              <a:rPr lang="en-US" dirty="0"/>
              <a:t>On the </a:t>
            </a:r>
            <a:r>
              <a:rPr lang="en-US" b="1" dirty="0"/>
              <a:t>left</a:t>
            </a:r>
            <a:r>
              <a:rPr lang="en-US" dirty="0"/>
              <a:t>, we have </a:t>
            </a:r>
            <a:r>
              <a:rPr lang="en-US" b="1" dirty="0"/>
              <a:t>Airline A</a:t>
            </a:r>
            <a:r>
              <a:rPr lang="en-US" dirty="0"/>
              <a:t>, which acts as a </a:t>
            </a:r>
            <a:r>
              <a:rPr lang="en-US" b="1" dirty="0"/>
              <a:t>supplier</a:t>
            </a:r>
            <a:r>
              <a:rPr lang="en-US" dirty="0"/>
              <a:t>. It owns and maintains a comprehensive </a:t>
            </a:r>
            <a:r>
              <a:rPr lang="en-US" b="1" dirty="0"/>
              <a:t>Product Catalogue</a:t>
            </a:r>
            <a:r>
              <a:rPr lang="en-US" dirty="0"/>
              <a:t>, containing all of its products — flights, seats, bags, meals, and lounges.</a:t>
            </a:r>
            <a:br>
              <a:rPr lang="en-US" dirty="0"/>
            </a:br>
            <a:r>
              <a:rPr lang="en-US" dirty="0"/>
              <a:t>This internal catalogue is the airline’s </a:t>
            </a:r>
            <a:r>
              <a:rPr lang="en-US" i="1" dirty="0"/>
              <a:t>master source of truth</a:t>
            </a:r>
            <a:r>
              <a:rPr lang="en-US" dirty="0"/>
              <a:t> for everything it can offer — but not everything in it is shared externally.</a:t>
            </a:r>
          </a:p>
          <a:p>
            <a:r>
              <a:rPr lang="en-US" dirty="0"/>
              <a:t>When Airline A collaborates with partners — such as </a:t>
            </a:r>
            <a:r>
              <a:rPr lang="en-US" b="1" dirty="0"/>
              <a:t>Airline B</a:t>
            </a:r>
            <a:r>
              <a:rPr lang="en-US" dirty="0"/>
              <a:t>, </a:t>
            </a:r>
            <a:r>
              <a:rPr lang="en-US" b="1" dirty="0"/>
              <a:t>Airline C</a:t>
            </a:r>
            <a:r>
              <a:rPr lang="en-US" dirty="0"/>
              <a:t>, or </a:t>
            </a:r>
            <a:r>
              <a:rPr lang="en-US" b="1" dirty="0"/>
              <a:t>Railways D</a:t>
            </a:r>
            <a:r>
              <a:rPr lang="en-US" dirty="0"/>
              <a:t> — it establishes a </a:t>
            </a:r>
            <a:r>
              <a:rPr lang="en-US" b="1" dirty="0"/>
              <a:t>Supplier Catalogue</a:t>
            </a:r>
            <a:r>
              <a:rPr lang="en-US" dirty="0"/>
              <a:t> for each partnership.</a:t>
            </a:r>
            <a:br>
              <a:rPr lang="en-US" dirty="0"/>
            </a:br>
            <a:r>
              <a:rPr lang="en-US" dirty="0"/>
              <a:t>Each Supplier Catalogue contains a subset of Airline A’s products that are relevant for that particular retailer relationship.</a:t>
            </a:r>
          </a:p>
          <a:p>
            <a:r>
              <a:rPr lang="en-US" dirty="0"/>
              <a:t>For example:</a:t>
            </a:r>
          </a:p>
          <a:p>
            <a:r>
              <a:rPr lang="en-US" dirty="0"/>
              <a:t>With </a:t>
            </a:r>
            <a:r>
              <a:rPr lang="en-US" b="1" dirty="0"/>
              <a:t>Airline B</a:t>
            </a:r>
            <a:r>
              <a:rPr lang="en-US" dirty="0"/>
              <a:t>, Airline A shares </a:t>
            </a:r>
            <a:r>
              <a:rPr lang="en-US" i="1" dirty="0"/>
              <a:t>Flight Legs 1 and 2</a:t>
            </a:r>
            <a:r>
              <a:rPr lang="en-US" dirty="0"/>
              <a:t> through a Supplier Catalogue, enabling B to include those flights in combined itineraries.</a:t>
            </a:r>
          </a:p>
          <a:p>
            <a:r>
              <a:rPr lang="en-US" dirty="0"/>
              <a:t>With </a:t>
            </a:r>
            <a:r>
              <a:rPr lang="en-US" b="1" dirty="0"/>
              <a:t>Airline C</a:t>
            </a:r>
            <a:r>
              <a:rPr lang="en-US" dirty="0"/>
              <a:t>, the shared catalogue includes </a:t>
            </a:r>
            <a:r>
              <a:rPr lang="en-US" i="1" dirty="0"/>
              <a:t>Flight Leg 3</a:t>
            </a:r>
            <a:r>
              <a:rPr lang="en-US" dirty="0"/>
              <a:t> and </a:t>
            </a:r>
            <a:r>
              <a:rPr lang="en-US" i="1" dirty="0"/>
              <a:t>Bag 2</a:t>
            </a:r>
            <a:r>
              <a:rPr lang="en-US" dirty="0"/>
              <a:t>, reflecting that partnership’s scope.</a:t>
            </a:r>
          </a:p>
          <a:p>
            <a:r>
              <a:rPr lang="en-US" dirty="0"/>
              <a:t>With </a:t>
            </a:r>
            <a:r>
              <a:rPr lang="en-US" b="1" dirty="0"/>
              <a:t>Railways D</a:t>
            </a:r>
            <a:r>
              <a:rPr lang="en-US" dirty="0"/>
              <a:t>, only </a:t>
            </a:r>
            <a:r>
              <a:rPr lang="en-US" i="1" dirty="0"/>
              <a:t>Flight Leg 1</a:t>
            </a:r>
            <a:r>
              <a:rPr lang="en-US" dirty="0"/>
              <a:t> is included — perhaps as part of a rail–air intermodal connection.</a:t>
            </a:r>
          </a:p>
          <a:p>
            <a:r>
              <a:rPr lang="en-US" dirty="0"/>
              <a:t>Each Supplier Catalogue therefore serves as a </a:t>
            </a:r>
            <a:r>
              <a:rPr lang="en-US" b="1" dirty="0"/>
              <a:t>mutually agreed “data contract”</a:t>
            </a:r>
            <a:r>
              <a:rPr lang="en-US" dirty="0"/>
              <a:t> between two parties, governed by standards such as </a:t>
            </a:r>
            <a:r>
              <a:rPr lang="en-US" b="1" dirty="0"/>
              <a:t>SRSIA (Standard Retailer–Supplier Interline Agreement)</a:t>
            </a:r>
            <a:r>
              <a:rPr lang="en-US" dirty="0"/>
              <a:t>.</a:t>
            </a:r>
            <a:br>
              <a:rPr lang="en-US" dirty="0"/>
            </a:br>
            <a:r>
              <a:rPr lang="en-US" dirty="0"/>
              <a:t>It defines </a:t>
            </a:r>
            <a:r>
              <a:rPr lang="en-US" i="1" dirty="0"/>
              <a:t>which products</a:t>
            </a:r>
            <a:r>
              <a:rPr lang="en-US" dirty="0"/>
              <a:t> can be exchanged, </a:t>
            </a:r>
            <a:r>
              <a:rPr lang="en-US" i="1" dirty="0"/>
              <a:t>how they’re described</a:t>
            </a:r>
            <a:r>
              <a:rPr lang="en-US" dirty="0"/>
              <a:t>, and </a:t>
            </a:r>
            <a:r>
              <a:rPr lang="en-US" i="1" dirty="0"/>
              <a:t>how they’re used</a:t>
            </a:r>
            <a:r>
              <a:rPr lang="en-US" dirty="0"/>
              <a:t> in offer creation.</a:t>
            </a:r>
          </a:p>
          <a:p>
            <a:r>
              <a:rPr lang="en-US" dirty="0"/>
              <a:t>In short:</a:t>
            </a:r>
          </a:p>
          <a:p>
            <a:r>
              <a:rPr lang="en-US" dirty="0"/>
              <a:t>The </a:t>
            </a:r>
            <a:r>
              <a:rPr lang="en-US" b="1" dirty="0"/>
              <a:t>Airline’s Own Catalogue</a:t>
            </a:r>
            <a:r>
              <a:rPr lang="en-US" dirty="0"/>
              <a:t> = complete, internal source of all products.</a:t>
            </a:r>
          </a:p>
          <a:p>
            <a:r>
              <a:rPr lang="en-US" dirty="0"/>
              <a:t>The </a:t>
            </a:r>
            <a:r>
              <a:rPr lang="en-US" b="1" dirty="0"/>
              <a:t>Supplier Catalogues</a:t>
            </a:r>
            <a:r>
              <a:rPr lang="en-US" dirty="0"/>
              <a:t> = filtered, relationship-specific subsets shared with other retailers.</a:t>
            </a:r>
          </a:p>
          <a:p>
            <a:r>
              <a:rPr lang="en-US" dirty="0"/>
              <a:t>This structure ensures that each partner receives only the data that is </a:t>
            </a:r>
            <a:r>
              <a:rPr lang="en-US" i="1" dirty="0"/>
              <a:t>relevant</a:t>
            </a:r>
            <a:r>
              <a:rPr lang="en-US" dirty="0"/>
              <a:t>, while maintaining global consistency through </a:t>
            </a:r>
            <a:r>
              <a:rPr lang="en-US" dirty="0" err="1"/>
              <a:t>standardised</a:t>
            </a:r>
            <a:r>
              <a:rPr lang="en-US" dirty="0"/>
              <a:t> product definitions (as defined by RP1730).</a:t>
            </a:r>
          </a:p>
          <a:p>
            <a:endParaRPr lang="en-US" dirty="0"/>
          </a:p>
        </p:txBody>
      </p:sp>
      <p:sp>
        <p:nvSpPr>
          <p:cNvPr id="4" name="Slide Number Placeholder 3"/>
          <p:cNvSpPr>
            <a:spLocks noGrp="1"/>
          </p:cNvSpPr>
          <p:nvPr>
            <p:ph type="sldNum" sz="quarter" idx="5"/>
          </p:nvPr>
        </p:nvSpPr>
        <p:spPr/>
        <p:txBody>
          <a:bodyPr/>
          <a:lstStyle/>
          <a:p>
            <a:fld id="{F17EFD21-3E0D-4ED5-96F2-31052EE08DB7}" type="slidenum">
              <a:rPr lang="en-US" smtClean="0"/>
              <a:pPr/>
              <a:t>9</a:t>
            </a:fld>
            <a:endParaRPr lang="en-US"/>
          </a:p>
        </p:txBody>
      </p:sp>
    </p:spTree>
    <p:extLst>
      <p:ext uri="{BB962C8B-B14F-4D97-AF65-F5344CB8AC3E}">
        <p14:creationId xmlns:p14="http://schemas.microsoft.com/office/powerpoint/2010/main" val="1215844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iagram shows how an </a:t>
            </a:r>
            <a:r>
              <a:rPr lang="en-US" b="1" dirty="0"/>
              <a:t>airline’s internal product management</a:t>
            </a:r>
            <a:r>
              <a:rPr lang="en-US" dirty="0"/>
              <a:t> connects to the </a:t>
            </a:r>
            <a:r>
              <a:rPr lang="en-US" b="1" dirty="0"/>
              <a:t>external marketplace</a:t>
            </a:r>
            <a:r>
              <a:rPr lang="en-US" dirty="0"/>
              <a:t> via the </a:t>
            </a:r>
            <a:r>
              <a:rPr lang="en-US" b="1" dirty="0"/>
              <a:t>Airline Profile</a:t>
            </a:r>
            <a:r>
              <a:rPr lang="en-US" dirty="0"/>
              <a:t>.</a:t>
            </a:r>
          </a:p>
          <a:p>
            <a:r>
              <a:rPr lang="en-US" dirty="0"/>
              <a:t>On the </a:t>
            </a:r>
            <a:r>
              <a:rPr lang="en-US" b="1" dirty="0"/>
              <a:t>left</a:t>
            </a:r>
            <a:r>
              <a:rPr lang="en-US" dirty="0"/>
              <a:t>, </a:t>
            </a:r>
            <a:r>
              <a:rPr lang="en-US" b="1" dirty="0"/>
              <a:t>Airline A</a:t>
            </a:r>
            <a:r>
              <a:rPr lang="en-US" dirty="0"/>
              <a:t> acts as both the </a:t>
            </a:r>
            <a:r>
              <a:rPr lang="en-US" b="1" dirty="0"/>
              <a:t>supplier</a:t>
            </a:r>
            <a:r>
              <a:rPr lang="en-US" dirty="0"/>
              <a:t> and </a:t>
            </a:r>
            <a:r>
              <a:rPr lang="en-US" b="1" dirty="0"/>
              <a:t>retailer</a:t>
            </a:r>
            <a:r>
              <a:rPr lang="en-US" dirty="0"/>
              <a:t> of its own products.</a:t>
            </a:r>
            <a:br>
              <a:rPr lang="en-US" dirty="0"/>
            </a:br>
            <a:r>
              <a:rPr lang="en-US" dirty="0"/>
              <a:t>It maintains an </a:t>
            </a:r>
            <a:r>
              <a:rPr lang="en-US" b="1" dirty="0"/>
              <a:t>Airline Own Product Catalogue</a:t>
            </a:r>
            <a:r>
              <a:rPr lang="en-US" dirty="0"/>
              <a:t>, which includes every element the airline can sell or deliver — flights (transport legs), seats, bags, meals, and lounges.</a:t>
            </a:r>
            <a:br>
              <a:rPr lang="en-US" dirty="0"/>
            </a:br>
            <a:r>
              <a:rPr lang="en-US" dirty="0"/>
              <a:t>This catalogue is the </a:t>
            </a:r>
            <a:r>
              <a:rPr lang="en-US" b="1" dirty="0"/>
              <a:t>master source</a:t>
            </a:r>
            <a:r>
              <a:rPr lang="en-US" dirty="0"/>
              <a:t> of all product and service data and is primarily used internally — for </a:t>
            </a:r>
            <a:r>
              <a:rPr lang="en-US" b="1" dirty="0"/>
              <a:t>offer creation, operational processes, and fulfilment.</a:t>
            </a:r>
            <a:endParaRPr lang="en-US" dirty="0"/>
          </a:p>
          <a:p>
            <a:r>
              <a:rPr lang="en-US" dirty="0"/>
              <a:t>However, when Airline A wants to make its products visible to the </a:t>
            </a:r>
            <a:r>
              <a:rPr lang="en-US" b="1" dirty="0"/>
              <a:t>external marketplace</a:t>
            </a:r>
            <a:r>
              <a:rPr lang="en-US" dirty="0"/>
              <a:t> — such as </a:t>
            </a:r>
            <a:r>
              <a:rPr lang="en-US" b="1" dirty="0"/>
              <a:t>travel agents, online travel agencies (OTAs), and tour operators</a:t>
            </a:r>
            <a:r>
              <a:rPr lang="en-US" dirty="0"/>
              <a:t> — it doesn’t share the entire internal catalogue.</a:t>
            </a:r>
            <a:br>
              <a:rPr lang="en-US" dirty="0"/>
            </a:br>
            <a:r>
              <a:rPr lang="en-US" dirty="0"/>
              <a:t>Instead, it publishes an </a:t>
            </a:r>
            <a:r>
              <a:rPr lang="en-US" b="1" dirty="0"/>
              <a:t>Airline Profile</a:t>
            </a:r>
            <a:r>
              <a:rPr lang="en-US" dirty="0"/>
              <a:t>, which is a filtered and structured view of the airline’s product data.</a:t>
            </a:r>
          </a:p>
          <a:p>
            <a:r>
              <a:rPr lang="en-US" dirty="0"/>
              <a:t>The </a:t>
            </a:r>
            <a:r>
              <a:rPr lang="en-US" b="1" dirty="0"/>
              <a:t>Airline Profile</a:t>
            </a:r>
            <a:r>
              <a:rPr lang="en-US" dirty="0"/>
              <a:t> describes </a:t>
            </a:r>
            <a:r>
              <a:rPr lang="en-US" i="1" dirty="0"/>
              <a:t>what kinds of offers</a:t>
            </a:r>
            <a:r>
              <a:rPr lang="en-US" dirty="0"/>
              <a:t> the airline is willing to respond to — essentially defining </a:t>
            </a:r>
            <a:r>
              <a:rPr lang="en-US" b="1" dirty="0"/>
              <a:t>the scope of what sellers can request</a:t>
            </a:r>
            <a:r>
              <a:rPr lang="en-US" dirty="0"/>
              <a:t>.</a:t>
            </a:r>
            <a:br>
              <a:rPr lang="en-US" dirty="0"/>
            </a:br>
            <a:r>
              <a:rPr lang="en-US" dirty="0"/>
              <a:t>For example:</a:t>
            </a:r>
          </a:p>
          <a:p>
            <a:r>
              <a:rPr lang="en-US" dirty="0"/>
              <a:t>The Airline’s own catalogue may list every possible flight leg (Leg1, Leg2, Leg3).</a:t>
            </a:r>
          </a:p>
          <a:p>
            <a:r>
              <a:rPr lang="en-US" dirty="0"/>
              <a:t>The Airline Profile may describe them in terms of </a:t>
            </a:r>
            <a:r>
              <a:rPr lang="en-US" i="1" dirty="0" err="1"/>
              <a:t>offerable</a:t>
            </a:r>
            <a:r>
              <a:rPr lang="en-US" i="1" dirty="0"/>
              <a:t> transport combinations</a:t>
            </a:r>
            <a:r>
              <a:rPr lang="en-US" dirty="0"/>
              <a:t> (OD1, OD2, OD3 — Origin-Destination pairs).</a:t>
            </a:r>
          </a:p>
          <a:p>
            <a:r>
              <a:rPr lang="en-US" dirty="0"/>
              <a:t>This means sellers like Expedia, Amadeus, or corporate travel agents can see </a:t>
            </a:r>
            <a:r>
              <a:rPr lang="en-US" b="1" dirty="0"/>
              <a:t>where</a:t>
            </a:r>
            <a:r>
              <a:rPr lang="en-US" dirty="0"/>
              <a:t> and </a:t>
            </a:r>
            <a:r>
              <a:rPr lang="en-US" b="1" dirty="0"/>
              <a:t>what</a:t>
            </a:r>
            <a:r>
              <a:rPr lang="en-US" dirty="0"/>
              <a:t> the airline can offer, but not operational details like seat inventory, internal identifiers, or pricing rules.</a:t>
            </a:r>
          </a:p>
          <a:p>
            <a:r>
              <a:rPr lang="en-US" dirty="0"/>
              <a:t>By doing this, the </a:t>
            </a:r>
            <a:r>
              <a:rPr lang="en-US" b="1" dirty="0"/>
              <a:t>Airline Profile</a:t>
            </a:r>
            <a:r>
              <a:rPr lang="en-US" dirty="0"/>
              <a:t>:</a:t>
            </a:r>
          </a:p>
          <a:p>
            <a:r>
              <a:rPr lang="en-US" dirty="0"/>
              <a:t>Filters out irrelevant data (so sellers only request meaningful offers).</a:t>
            </a:r>
          </a:p>
          <a:p>
            <a:r>
              <a:rPr lang="en-US" dirty="0"/>
              <a:t>Enables faster, cleaner offer requests and responses.</a:t>
            </a:r>
          </a:p>
          <a:p>
            <a:r>
              <a:rPr lang="en-US" dirty="0"/>
              <a:t>Keeps sensitive internal data (e.g., configurations or rules) private.</a:t>
            </a:r>
          </a:p>
          <a:p>
            <a:r>
              <a:rPr lang="en-US" dirty="0"/>
              <a:t>In short:</a:t>
            </a:r>
          </a:p>
          <a:p>
            <a:r>
              <a:rPr lang="en-US" dirty="0"/>
              <a:t>The </a:t>
            </a:r>
            <a:r>
              <a:rPr lang="en-US" b="1" dirty="0"/>
              <a:t>Own Product Catalogue</a:t>
            </a:r>
            <a:r>
              <a:rPr lang="en-US" dirty="0"/>
              <a:t> is about </a:t>
            </a:r>
            <a:r>
              <a:rPr lang="en-US" b="1" dirty="0"/>
              <a:t>defining and managing all airline products internally.</a:t>
            </a:r>
            <a:endParaRPr lang="en-US" dirty="0"/>
          </a:p>
          <a:p>
            <a:r>
              <a:rPr lang="en-US" dirty="0"/>
              <a:t>The </a:t>
            </a:r>
            <a:r>
              <a:rPr lang="en-US" b="1" dirty="0"/>
              <a:t>Airline Profile</a:t>
            </a:r>
            <a:r>
              <a:rPr lang="en-US" dirty="0"/>
              <a:t> is about </a:t>
            </a:r>
            <a:r>
              <a:rPr lang="en-US" b="1" dirty="0"/>
              <a:t>exposing those products in a standardized way to external sellers</a:t>
            </a:r>
            <a:r>
              <a:rPr lang="en-US" dirty="0"/>
              <a:t> — controlling how the airline is seen and requested in the market.</a:t>
            </a:r>
          </a:p>
          <a:p>
            <a:endParaRPr lang="en-US" dirty="0"/>
          </a:p>
        </p:txBody>
      </p:sp>
      <p:sp>
        <p:nvSpPr>
          <p:cNvPr id="4" name="Slide Number Placeholder 3"/>
          <p:cNvSpPr>
            <a:spLocks noGrp="1"/>
          </p:cNvSpPr>
          <p:nvPr>
            <p:ph type="sldNum" sz="quarter" idx="5"/>
          </p:nvPr>
        </p:nvSpPr>
        <p:spPr/>
        <p:txBody>
          <a:bodyPr/>
          <a:lstStyle/>
          <a:p>
            <a:fld id="{F17EFD21-3E0D-4ED5-96F2-31052EE08DB7}" type="slidenum">
              <a:rPr lang="en-US" smtClean="0"/>
              <a:pPr/>
              <a:t>10</a:t>
            </a:fld>
            <a:endParaRPr lang="en-US"/>
          </a:p>
        </p:txBody>
      </p:sp>
    </p:spTree>
    <p:extLst>
      <p:ext uri="{BB962C8B-B14F-4D97-AF65-F5344CB8AC3E}">
        <p14:creationId xmlns:p14="http://schemas.microsoft.com/office/powerpoint/2010/main" val="3332986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31E24-B452-7E63-4920-12487013033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F1A431E-CED1-E616-B8C9-6AB012DD455E}"/>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7C3AC7E2-3D33-EFA9-B053-22D43782F7DB}"/>
              </a:ext>
            </a:extLst>
          </p:cNvPr>
          <p:cNvSpPr>
            <a:spLocks noGrp="1"/>
          </p:cNvSpPr>
          <p:nvPr>
            <p:ph type="body" idx="1"/>
          </p:nvPr>
        </p:nvSpPr>
        <p:spPr/>
        <p:txBody>
          <a:bodyPr/>
          <a:lstStyle/>
          <a:p>
            <a:r>
              <a:rPr lang="en-US" dirty="0"/>
              <a:t>This diagram shows how an </a:t>
            </a:r>
            <a:r>
              <a:rPr lang="en-US" b="1" dirty="0"/>
              <a:t>offer</a:t>
            </a:r>
            <a:r>
              <a:rPr lang="en-US" dirty="0"/>
              <a:t> (what the traveler ultimately sees and buys) is assembled and distributed across the airline retailing ecosystem.</a:t>
            </a:r>
          </a:p>
          <a:p>
            <a:r>
              <a:rPr lang="en-US" dirty="0"/>
              <a:t>Let’s walk through it step by step:</a:t>
            </a:r>
          </a:p>
          <a:p>
            <a:r>
              <a:rPr lang="en-US" b="1" dirty="0"/>
              <a:t>The Traveler</a:t>
            </a:r>
            <a:r>
              <a:rPr lang="en-US" dirty="0"/>
              <a:t> begins the journey by searching for a trip, for example, a flight from </a:t>
            </a:r>
            <a:r>
              <a:rPr lang="en-US" i="1" dirty="0"/>
              <a:t>Frankfurt to New York</a:t>
            </a:r>
            <a:r>
              <a:rPr lang="en-US" dirty="0"/>
              <a:t>.</a:t>
            </a:r>
          </a:p>
          <a:p>
            <a:pPr lvl="1"/>
            <a:r>
              <a:rPr lang="en-US" dirty="0"/>
              <a:t>This request goes to a </a:t>
            </a:r>
            <a:r>
              <a:rPr lang="en-US" b="1" dirty="0"/>
              <a:t>Seller</a:t>
            </a:r>
            <a:r>
              <a:rPr lang="en-US" dirty="0"/>
              <a:t> such as an online travel agency (OTA), a travel agent, or a metasearch engine.</a:t>
            </a:r>
          </a:p>
          <a:p>
            <a:r>
              <a:rPr lang="en-US" dirty="0"/>
              <a:t>The </a:t>
            </a:r>
            <a:r>
              <a:rPr lang="en-US" b="1" dirty="0"/>
              <a:t>Seller</a:t>
            </a:r>
            <a:r>
              <a:rPr lang="en-US" dirty="0"/>
              <a:t> doesn’t create offers itself.</a:t>
            </a:r>
          </a:p>
          <a:p>
            <a:pPr lvl="1"/>
            <a:r>
              <a:rPr lang="en-US" dirty="0"/>
              <a:t>It uses the </a:t>
            </a:r>
            <a:r>
              <a:rPr lang="en-US" b="1" dirty="0"/>
              <a:t>Airline Profile Database</a:t>
            </a:r>
            <a:r>
              <a:rPr lang="en-US" dirty="0"/>
              <a:t>, which contains standardized information about what each airline (acting as a retailer) wants to receive offer requests for e.g., “Flights from Europe to North America,” “Meal upgrades,” “Extra baggage,” etc.</a:t>
            </a:r>
          </a:p>
          <a:p>
            <a:pPr lvl="1"/>
            <a:r>
              <a:rPr lang="en-US" dirty="0"/>
              <a:t>The Seller uses this profile to </a:t>
            </a:r>
            <a:r>
              <a:rPr lang="en-US" b="1" dirty="0"/>
              <a:t>request offers</a:t>
            </a:r>
            <a:r>
              <a:rPr lang="en-US" dirty="0"/>
              <a:t> from multiple </a:t>
            </a:r>
            <a:r>
              <a:rPr lang="en-US" b="1" dirty="0"/>
              <a:t>Retailer Airlines</a:t>
            </a:r>
            <a:r>
              <a:rPr lang="en-US" dirty="0"/>
              <a:t> that match the search.</a:t>
            </a:r>
          </a:p>
          <a:p>
            <a:r>
              <a:rPr lang="en-US" dirty="0"/>
              <a:t>Each </a:t>
            </a:r>
            <a:r>
              <a:rPr lang="en-US" b="1" dirty="0"/>
              <a:t>Retailer Airline</a:t>
            </a:r>
            <a:r>
              <a:rPr lang="en-US" dirty="0"/>
              <a:t> (for example, Airline A or Airline B) has an </a:t>
            </a:r>
            <a:r>
              <a:rPr lang="en-US" b="1" dirty="0"/>
              <a:t>Offer Engine</a:t>
            </a:r>
            <a:r>
              <a:rPr lang="en-US" dirty="0"/>
              <a:t>.</a:t>
            </a:r>
          </a:p>
          <a:p>
            <a:pPr lvl="1"/>
            <a:r>
              <a:rPr lang="en-US" dirty="0"/>
              <a:t>This engine builds a customized offer for the traveler using the airline’s </a:t>
            </a:r>
            <a:r>
              <a:rPr lang="en-US" b="1" dirty="0"/>
              <a:t>own product catalogue</a:t>
            </a:r>
            <a:r>
              <a:rPr lang="en-US" dirty="0"/>
              <a:t> (flights, seats, meals, etc.).</a:t>
            </a:r>
          </a:p>
          <a:p>
            <a:pPr lvl="1"/>
            <a:r>
              <a:rPr lang="en-US" dirty="0"/>
              <a:t>However, the retailer may also need to combine content from </a:t>
            </a:r>
            <a:r>
              <a:rPr lang="en-US" b="1" dirty="0"/>
              <a:t>Supplier Airlines</a:t>
            </a:r>
            <a:r>
              <a:rPr lang="en-US" dirty="0"/>
              <a:t> to complete the journey (e.g., Lufthansa selling a ticket that includes a United Airlines leg).</a:t>
            </a:r>
          </a:p>
          <a:p>
            <a:r>
              <a:rPr lang="en-US" dirty="0"/>
              <a:t>When that happens, the </a:t>
            </a:r>
            <a:r>
              <a:rPr lang="en-US" b="1" dirty="0"/>
              <a:t>Retailer Airline</a:t>
            </a:r>
            <a:r>
              <a:rPr lang="en-US" dirty="0"/>
              <a:t> sends </a:t>
            </a:r>
            <a:r>
              <a:rPr lang="en-US" b="1" dirty="0"/>
              <a:t>sub-offer requests</a:t>
            </a:r>
            <a:r>
              <a:rPr lang="en-US" dirty="0"/>
              <a:t> to its partner airlines (suppliers) using the </a:t>
            </a:r>
            <a:r>
              <a:rPr lang="en-US" b="1" dirty="0"/>
              <a:t>Supplier Catalogue</a:t>
            </a:r>
            <a:r>
              <a:rPr lang="en-US" dirty="0"/>
              <a:t> which defines what those partners allow it to sell.</a:t>
            </a:r>
          </a:p>
          <a:p>
            <a:pPr lvl="1"/>
            <a:r>
              <a:rPr lang="en-US" dirty="0"/>
              <a:t>For example, Airline B might request a sub-offer for a connecting leg from Airline C.</a:t>
            </a:r>
          </a:p>
          <a:p>
            <a:r>
              <a:rPr lang="en-US" dirty="0"/>
              <a:t>The </a:t>
            </a:r>
            <a:r>
              <a:rPr lang="en-US" b="1" dirty="0"/>
              <a:t>Supplier Airline</a:t>
            </a:r>
            <a:r>
              <a:rPr lang="en-US" dirty="0"/>
              <a:t> (Airline C) returns the sub-offer to the retailer.</a:t>
            </a:r>
          </a:p>
          <a:p>
            <a:pPr lvl="1"/>
            <a:r>
              <a:rPr lang="en-US" dirty="0"/>
              <a:t>The retailer’s Offer Engine then combines all elements - its own flight, the supplier’s leg, plus ancillaries like bags or meals - into one </a:t>
            </a:r>
            <a:r>
              <a:rPr lang="en-US" b="1" dirty="0"/>
              <a:t>final offer</a:t>
            </a:r>
            <a:r>
              <a:rPr lang="en-US" dirty="0"/>
              <a:t>.</a:t>
            </a:r>
          </a:p>
          <a:p>
            <a:r>
              <a:rPr lang="en-US" dirty="0"/>
              <a:t>The </a:t>
            </a:r>
            <a:r>
              <a:rPr lang="en-US" b="1" dirty="0"/>
              <a:t>Retailer Airline</a:t>
            </a:r>
            <a:r>
              <a:rPr lang="en-US" dirty="0"/>
              <a:t> sends that complete offer back to the </a:t>
            </a:r>
            <a:r>
              <a:rPr lang="en-US" b="1" dirty="0"/>
              <a:t>Seller</a:t>
            </a:r>
            <a:r>
              <a:rPr lang="en-US" dirty="0"/>
              <a:t>, which displays it to the </a:t>
            </a:r>
            <a:r>
              <a:rPr lang="en-US" b="1" dirty="0"/>
              <a:t>Traveler</a:t>
            </a:r>
            <a:r>
              <a:rPr lang="en-US" dirty="0"/>
              <a:t> for purchase.</a:t>
            </a:r>
          </a:p>
          <a:p>
            <a:endParaRPr lang="en-US" dirty="0"/>
          </a:p>
        </p:txBody>
      </p:sp>
      <p:sp>
        <p:nvSpPr>
          <p:cNvPr id="4" name="Espace réservé du numéro de diapositive 3">
            <a:extLst>
              <a:ext uri="{FF2B5EF4-FFF2-40B4-BE49-F238E27FC236}">
                <a16:creationId xmlns:a16="http://schemas.microsoft.com/office/drawing/2014/main" id="{ADC56ABE-CD40-84E8-653B-F8D9CBFC18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9BF1CB-051C-214C-8967-44987813E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455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C7FD41-1A84-1DA7-B4F2-4FD53E83E15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98A12A4-E0B9-1261-E52F-D58BD32DA09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30F46A44-ADE6-0BF2-68D9-530483B054B7}"/>
              </a:ext>
            </a:extLst>
          </p:cNvPr>
          <p:cNvSpPr>
            <a:spLocks noGrp="1"/>
          </p:cNvSpPr>
          <p:nvPr>
            <p:ph type="body" idx="1"/>
          </p:nvPr>
        </p:nvSpPr>
        <p:spPr/>
        <p:txBody>
          <a:bodyPr/>
          <a:lstStyle/>
          <a:p>
            <a:r>
              <a:rPr lang="en-US" dirty="0"/>
              <a:t>This slide sets up the </a:t>
            </a:r>
            <a:r>
              <a:rPr lang="en-US" b="1" dirty="0"/>
              <a:t>context and motivation</a:t>
            </a:r>
            <a:r>
              <a:rPr lang="en-US" dirty="0"/>
              <a:t>.</a:t>
            </a:r>
          </a:p>
          <a:p>
            <a:r>
              <a:rPr lang="en-US" dirty="0"/>
              <a:t>It explains that:</a:t>
            </a:r>
          </a:p>
          <a:p>
            <a:r>
              <a:rPr lang="en-US" dirty="0"/>
              <a:t>In airline retailing, there are </a:t>
            </a:r>
            <a:r>
              <a:rPr lang="en-US" b="1" dirty="0"/>
              <a:t>two key roles</a:t>
            </a:r>
            <a:r>
              <a:rPr lang="en-US" dirty="0"/>
              <a:t>:</a:t>
            </a:r>
          </a:p>
          <a:p>
            <a:pPr lvl="1"/>
            <a:r>
              <a:rPr lang="en-US" b="1" dirty="0"/>
              <a:t>Retailer</a:t>
            </a:r>
            <a:r>
              <a:rPr lang="en-US" dirty="0"/>
              <a:t> → sells products to the traveler.</a:t>
            </a:r>
          </a:p>
          <a:p>
            <a:pPr lvl="1"/>
            <a:r>
              <a:rPr lang="en-US" b="1" dirty="0"/>
              <a:t>Supplier</a:t>
            </a:r>
            <a:r>
              <a:rPr lang="en-US" dirty="0"/>
              <a:t> → provides or produces the product that is sold.</a:t>
            </a:r>
          </a:p>
          <a:p>
            <a:r>
              <a:rPr lang="en-US" dirty="0"/>
              <a:t>Every retailing relationship is a </a:t>
            </a:r>
            <a:r>
              <a:rPr lang="en-US" b="1" dirty="0"/>
              <a:t>bilateral agreement</a:t>
            </a:r>
            <a:r>
              <a:rPr lang="en-US" dirty="0"/>
              <a:t> (one retailer + one supplier).</a:t>
            </a:r>
          </a:p>
          <a:p>
            <a:r>
              <a:rPr lang="en-US" dirty="0"/>
              <a:t>Each airline can act as both a </a:t>
            </a:r>
            <a:r>
              <a:rPr lang="en-US" b="1" dirty="0"/>
              <a:t>retailer</a:t>
            </a:r>
            <a:r>
              <a:rPr lang="en-US" dirty="0"/>
              <a:t> and a </a:t>
            </a:r>
            <a:r>
              <a:rPr lang="en-US" b="1" dirty="0"/>
              <a:t>supplier</a:t>
            </a:r>
            <a:r>
              <a:rPr lang="en-US" dirty="0"/>
              <a:t>, depending on the context.</a:t>
            </a:r>
          </a:p>
          <a:p>
            <a:r>
              <a:rPr lang="en-US" b="1" dirty="0"/>
              <a:t>Example:</a:t>
            </a:r>
          </a:p>
          <a:p>
            <a:r>
              <a:rPr lang="en-US" dirty="0"/>
              <a:t>Lufthansa (Retailer A) sells a combined journey that includes a leg operated by United (Supplier B).</a:t>
            </a:r>
            <a:br>
              <a:rPr lang="en-US" dirty="0"/>
            </a:br>
            <a:r>
              <a:rPr lang="en-US" dirty="0"/>
              <a:t>To make this work, Lufthansa’s “shop” needs product data from United’s “production.”</a:t>
            </a:r>
          </a:p>
          <a:p>
            <a:r>
              <a:rPr lang="en-US" dirty="0"/>
              <a:t>The customer only sees </a:t>
            </a:r>
            <a:r>
              <a:rPr lang="en-US" i="1" dirty="0"/>
              <a:t>one offer</a:t>
            </a:r>
            <a:r>
              <a:rPr lang="en-US" dirty="0"/>
              <a:t> but in the background, multiple airlines exchange and align </a:t>
            </a:r>
            <a:r>
              <a:rPr lang="en-US" b="1" dirty="0"/>
              <a:t>product data</a:t>
            </a:r>
            <a:r>
              <a:rPr lang="en-US" dirty="0"/>
              <a:t> and </a:t>
            </a:r>
            <a:r>
              <a:rPr lang="en-US" b="1" dirty="0"/>
              <a:t>offer logic</a:t>
            </a:r>
            <a:r>
              <a:rPr lang="en-US" dirty="0"/>
              <a:t>.</a:t>
            </a:r>
          </a:p>
          <a:p>
            <a:r>
              <a:rPr lang="en-US" dirty="0"/>
              <a:t>The </a:t>
            </a:r>
            <a:r>
              <a:rPr lang="en-US" b="1" dirty="0"/>
              <a:t>business problem</a:t>
            </a:r>
            <a:r>
              <a:rPr lang="en-US" dirty="0"/>
              <a:t> is that:</a:t>
            </a:r>
          </a:p>
          <a:p>
            <a:r>
              <a:rPr lang="en-US" dirty="0"/>
              <a:t>Each of these relationships requires a consistent and interpretable exchange of product information and when you multiply this across </a:t>
            </a:r>
            <a:r>
              <a:rPr lang="en-US" i="1" dirty="0"/>
              <a:t>hundreds</a:t>
            </a:r>
            <a:r>
              <a:rPr lang="en-US" dirty="0"/>
              <a:t> of partners, the complexity explodes.</a:t>
            </a:r>
          </a:p>
          <a:p>
            <a:r>
              <a:rPr lang="en-US" dirty="0"/>
              <a:t>Hence, airlines need:</a:t>
            </a:r>
          </a:p>
          <a:p>
            <a:r>
              <a:rPr lang="en-US" dirty="0"/>
              <a:t>A </a:t>
            </a:r>
            <a:r>
              <a:rPr lang="en-US" b="1" dirty="0"/>
              <a:t>flexible and extensible framework</a:t>
            </a:r>
            <a:r>
              <a:rPr lang="en-US" dirty="0"/>
              <a:t> (like the IATA Product Catalogue standards).</a:t>
            </a:r>
          </a:p>
          <a:p>
            <a:r>
              <a:rPr lang="en-US" dirty="0"/>
              <a:t>A </a:t>
            </a:r>
            <a:r>
              <a:rPr lang="en-US" b="1" dirty="0"/>
              <a:t>shared language and structure</a:t>
            </a:r>
            <a:r>
              <a:rPr lang="en-US" dirty="0"/>
              <a:t> for product information across all retailing relationships.</a:t>
            </a:r>
          </a:p>
          <a:p>
            <a:endParaRPr lang="en-US" dirty="0"/>
          </a:p>
        </p:txBody>
      </p:sp>
      <p:sp>
        <p:nvSpPr>
          <p:cNvPr id="4" name="Espace réservé du numéro de diapositive 3">
            <a:extLst>
              <a:ext uri="{FF2B5EF4-FFF2-40B4-BE49-F238E27FC236}">
                <a16:creationId xmlns:a16="http://schemas.microsoft.com/office/drawing/2014/main" id="{A72457CF-6501-1B48-893E-7ED1D5F92C5A}"/>
              </a:ext>
            </a:extLst>
          </p:cNvPr>
          <p:cNvSpPr>
            <a:spLocks noGrp="1"/>
          </p:cNvSpPr>
          <p:nvPr>
            <p:ph type="sldNum" sz="quarter" idx="5"/>
          </p:nvPr>
        </p:nvSpPr>
        <p:spPr/>
        <p:txBody>
          <a:bodyPr/>
          <a:lstStyle/>
          <a:p>
            <a:fld id="{D59BF1CB-051C-214C-8967-44987813EE10}" type="slidenum">
              <a:rPr lang="en-US" smtClean="0"/>
              <a:t>12</a:t>
            </a:fld>
            <a:endParaRPr lang="en-US"/>
          </a:p>
        </p:txBody>
      </p:sp>
    </p:spTree>
    <p:extLst>
      <p:ext uri="{BB962C8B-B14F-4D97-AF65-F5344CB8AC3E}">
        <p14:creationId xmlns:p14="http://schemas.microsoft.com/office/powerpoint/2010/main" val="2733119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0BC1D-A9F6-89DF-C07C-846905B95B17}"/>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9226ED1-601B-3F03-BE4A-F6CB638579A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530EFEA-66FD-CFBC-538F-DA21B9FEF1A7}"/>
              </a:ext>
            </a:extLst>
          </p:cNvPr>
          <p:cNvSpPr>
            <a:spLocks noGrp="1"/>
          </p:cNvSpPr>
          <p:nvPr>
            <p:ph type="body" idx="1"/>
          </p:nvPr>
        </p:nvSpPr>
        <p:spPr/>
        <p:txBody>
          <a:bodyPr/>
          <a:lstStyle/>
          <a:p>
            <a:r>
              <a:rPr lang="en-US" dirty="0"/>
              <a:t>Now we look at the </a:t>
            </a:r>
            <a:r>
              <a:rPr lang="en-US" b="1" dirty="0"/>
              <a:t>retailer’s perspective-</a:t>
            </a:r>
            <a:r>
              <a:rPr lang="en-US" dirty="0"/>
              <a:t> the airline that sells products from others.</a:t>
            </a:r>
          </a:p>
          <a:p>
            <a:r>
              <a:rPr lang="en-US" dirty="0"/>
              <a:t>In the diagram:</a:t>
            </a:r>
          </a:p>
          <a:p>
            <a:r>
              <a:rPr lang="en-US" b="1" dirty="0" err="1"/>
              <a:t>Coorp</a:t>
            </a:r>
            <a:r>
              <a:rPr lang="en-US" b="1" dirty="0"/>
              <a:t> A</a:t>
            </a:r>
            <a:r>
              <a:rPr lang="en-US" dirty="0"/>
              <a:t> = the retailer airline.</a:t>
            </a:r>
          </a:p>
          <a:p>
            <a:r>
              <a:rPr lang="en-US" dirty="0"/>
              <a:t>The </a:t>
            </a:r>
            <a:r>
              <a:rPr lang="en-US" b="1" dirty="0"/>
              <a:t>shop</a:t>
            </a:r>
            <a:r>
              <a:rPr lang="en-US" dirty="0"/>
              <a:t> represents its retail platform (e.g., airline website or offer engine).</a:t>
            </a:r>
          </a:p>
          <a:p>
            <a:r>
              <a:rPr lang="en-US" dirty="0"/>
              <a:t>To the right, there are </a:t>
            </a:r>
            <a:r>
              <a:rPr lang="en-US" b="1" dirty="0"/>
              <a:t>n suppliers -</a:t>
            </a:r>
            <a:r>
              <a:rPr lang="en-US" dirty="0"/>
              <a:t> other airlines or partners who provide products that the retailer can sell.</a:t>
            </a:r>
          </a:p>
          <a:p>
            <a:r>
              <a:rPr lang="en-US" b="1" dirty="0"/>
              <a:t>Meaning of “n”:</a:t>
            </a:r>
          </a:p>
          <a:p>
            <a:r>
              <a:rPr lang="en-US" dirty="0"/>
              <a:t>“n” represents the number of supplier partners the retailer works with.</a:t>
            </a:r>
            <a:br>
              <a:rPr lang="en-US" dirty="0"/>
            </a:br>
            <a:r>
              <a:rPr lang="en-US" dirty="0"/>
              <a:t>So, if Lufthansa sells products from 50 different partners, n = 50.</a:t>
            </a:r>
          </a:p>
          <a:p>
            <a:br>
              <a:rPr lang="en-US" dirty="0"/>
            </a:br>
            <a:endParaRPr lang="en-US" dirty="0"/>
          </a:p>
          <a:p>
            <a:r>
              <a:rPr lang="en-US" b="1" dirty="0"/>
              <a:t>What the slide shows:</a:t>
            </a:r>
          </a:p>
          <a:p>
            <a:r>
              <a:rPr lang="en-US" dirty="0"/>
              <a:t>For </a:t>
            </a:r>
            <a:r>
              <a:rPr lang="en-US" dirty="0" err="1"/>
              <a:t>Coorp</a:t>
            </a:r>
            <a:r>
              <a:rPr lang="en-US" dirty="0"/>
              <a:t> A to sell partner products, it must:</a:t>
            </a:r>
          </a:p>
          <a:p>
            <a:r>
              <a:rPr lang="en-US" b="1" dirty="0"/>
              <a:t>Understand</a:t>
            </a:r>
            <a:r>
              <a:rPr lang="en-US" dirty="0"/>
              <a:t> each partner’s product data model (read and interpret the product management information from n suppliers).</a:t>
            </a:r>
          </a:p>
          <a:p>
            <a:r>
              <a:rPr lang="en-US" b="1" dirty="0"/>
              <a:t>Align</a:t>
            </a:r>
            <a:r>
              <a:rPr lang="en-US" dirty="0"/>
              <a:t> all of them with its own catalogue structure, so its “shop” can combine and retail those products consistently.</a:t>
            </a:r>
          </a:p>
          <a:p>
            <a:r>
              <a:rPr lang="en-US" dirty="0"/>
              <a:t>That means </a:t>
            </a:r>
            <a:r>
              <a:rPr lang="en-US" dirty="0" err="1"/>
              <a:t>Coorp</a:t>
            </a:r>
            <a:r>
              <a:rPr lang="en-US" dirty="0"/>
              <a:t> A needs to:</a:t>
            </a:r>
          </a:p>
          <a:p>
            <a:r>
              <a:rPr lang="en-US" dirty="0"/>
              <a:t>Integrate data from all suppliers’ catalogues.</a:t>
            </a:r>
          </a:p>
          <a:p>
            <a:r>
              <a:rPr lang="en-US" dirty="0"/>
              <a:t>Map attributes like “Seat Type,” “Meal Type,” “Service Class,” etc.</a:t>
            </a:r>
          </a:p>
          <a:p>
            <a:r>
              <a:rPr lang="en-US" dirty="0"/>
              <a:t>Ensure compatibility across partners.</a:t>
            </a:r>
          </a:p>
          <a:p>
            <a:r>
              <a:rPr lang="en-US" dirty="0"/>
              <a:t>Without standardization, this becomes a </a:t>
            </a:r>
            <a:r>
              <a:rPr lang="en-US" i="1" dirty="0"/>
              <a:t>massive technical and operational burden.</a:t>
            </a:r>
            <a:endParaRPr lang="en-US" dirty="0"/>
          </a:p>
          <a:p>
            <a:br>
              <a:rPr lang="en-US" dirty="0"/>
            </a:br>
            <a:r>
              <a:rPr lang="en-US" b="1" dirty="0"/>
              <a:t>In short:</a:t>
            </a:r>
          </a:p>
          <a:p>
            <a:r>
              <a:rPr lang="en-US" dirty="0"/>
              <a:t>As a retailer, I must interpret and align n different supplier catalogues so my shop can retail all partner products consistently.</a:t>
            </a:r>
          </a:p>
          <a:p>
            <a:r>
              <a:rPr lang="en-US" dirty="0"/>
              <a:t>This is the </a:t>
            </a:r>
            <a:r>
              <a:rPr lang="en-US" b="1" dirty="0"/>
              <a:t>first half</a:t>
            </a:r>
            <a:r>
              <a:rPr lang="en-US" dirty="0"/>
              <a:t> of the industry problem: the </a:t>
            </a:r>
            <a:r>
              <a:rPr lang="en-US" i="1" dirty="0"/>
              <a:t>retailer challenge</a:t>
            </a:r>
            <a:r>
              <a:rPr lang="en-US" dirty="0"/>
              <a:t>.</a:t>
            </a:r>
          </a:p>
        </p:txBody>
      </p:sp>
      <p:sp>
        <p:nvSpPr>
          <p:cNvPr id="4" name="Espace réservé du numéro de diapositive 3">
            <a:extLst>
              <a:ext uri="{FF2B5EF4-FFF2-40B4-BE49-F238E27FC236}">
                <a16:creationId xmlns:a16="http://schemas.microsoft.com/office/drawing/2014/main" id="{9BC5BA69-6509-EC10-9397-F09E1765D064}"/>
              </a:ext>
            </a:extLst>
          </p:cNvPr>
          <p:cNvSpPr>
            <a:spLocks noGrp="1"/>
          </p:cNvSpPr>
          <p:nvPr>
            <p:ph type="sldNum" sz="quarter" idx="5"/>
          </p:nvPr>
        </p:nvSpPr>
        <p:spPr/>
        <p:txBody>
          <a:bodyPr/>
          <a:lstStyle/>
          <a:p>
            <a:fld id="{D59BF1CB-051C-214C-8967-44987813EE10}" type="slidenum">
              <a:rPr lang="en-US" smtClean="0"/>
              <a:t>13</a:t>
            </a:fld>
            <a:endParaRPr lang="en-US"/>
          </a:p>
        </p:txBody>
      </p:sp>
    </p:spTree>
    <p:extLst>
      <p:ext uri="{BB962C8B-B14F-4D97-AF65-F5344CB8AC3E}">
        <p14:creationId xmlns:p14="http://schemas.microsoft.com/office/powerpoint/2010/main" val="2511532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4B967-826D-4C2D-31E0-6B11E415E0EF}"/>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0CB97AB-6E45-9689-A1E7-827191C3B2B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F13D347-086B-3BD8-FA27-DCD2A376D0D2}"/>
              </a:ext>
            </a:extLst>
          </p:cNvPr>
          <p:cNvSpPr>
            <a:spLocks noGrp="1"/>
          </p:cNvSpPr>
          <p:nvPr>
            <p:ph type="body" idx="1"/>
          </p:nvPr>
        </p:nvSpPr>
        <p:spPr/>
        <p:txBody>
          <a:bodyPr/>
          <a:lstStyle/>
          <a:p>
            <a:r>
              <a:rPr lang="en-US" dirty="0"/>
              <a:t>This slide flips the perspective, now we’re the </a:t>
            </a:r>
            <a:r>
              <a:rPr lang="en-US" b="1" dirty="0"/>
              <a:t>supplier</a:t>
            </a:r>
            <a:r>
              <a:rPr lang="en-US" dirty="0"/>
              <a:t> airline providing products to multiple retailers.</a:t>
            </a:r>
          </a:p>
          <a:p>
            <a:r>
              <a:rPr lang="en-US" dirty="0"/>
              <a:t>In the diagram:</a:t>
            </a:r>
          </a:p>
          <a:p>
            <a:r>
              <a:rPr lang="en-US" b="1" dirty="0" err="1"/>
              <a:t>Coorp</a:t>
            </a:r>
            <a:r>
              <a:rPr lang="en-US" b="1" dirty="0"/>
              <a:t> A</a:t>
            </a:r>
            <a:r>
              <a:rPr lang="en-US" dirty="0"/>
              <a:t> = the supplier (producer airline).</a:t>
            </a:r>
          </a:p>
          <a:p>
            <a:r>
              <a:rPr lang="en-US" dirty="0"/>
              <a:t>There are </a:t>
            </a:r>
            <a:r>
              <a:rPr lang="en-US" b="1" dirty="0"/>
              <a:t>m retail partners</a:t>
            </a:r>
            <a:r>
              <a:rPr lang="en-US" dirty="0"/>
              <a:t> on the right who sell </a:t>
            </a:r>
            <a:r>
              <a:rPr lang="en-US" dirty="0" err="1"/>
              <a:t>Coorp</a:t>
            </a:r>
            <a:r>
              <a:rPr lang="en-US" dirty="0"/>
              <a:t> A’s products.</a:t>
            </a:r>
          </a:p>
          <a:p>
            <a:r>
              <a:rPr lang="en-US" b="1" dirty="0"/>
              <a:t>Meaning of “m”:</a:t>
            </a:r>
          </a:p>
          <a:p>
            <a:r>
              <a:rPr lang="en-US" dirty="0"/>
              <a:t>“m” represents the number of partners who retail </a:t>
            </a:r>
            <a:r>
              <a:rPr lang="en-US" dirty="0" err="1"/>
              <a:t>Coorp</a:t>
            </a:r>
            <a:r>
              <a:rPr lang="en-US" dirty="0"/>
              <a:t> A’s products.</a:t>
            </a:r>
            <a:br>
              <a:rPr lang="en-US" dirty="0"/>
            </a:br>
            <a:r>
              <a:rPr lang="en-US" dirty="0"/>
              <a:t>For example, United’s flights might be sold by 30 different partners (m = 30).</a:t>
            </a:r>
          </a:p>
          <a:p>
            <a:br>
              <a:rPr lang="en-US" dirty="0"/>
            </a:br>
            <a:r>
              <a:rPr lang="en-US" b="1" dirty="0"/>
              <a:t>What the slide shows:</a:t>
            </a:r>
          </a:p>
          <a:p>
            <a:r>
              <a:rPr lang="en-US" dirty="0"/>
              <a:t>As a supplier, </a:t>
            </a:r>
            <a:r>
              <a:rPr lang="en-US" dirty="0" err="1"/>
              <a:t>Coorp</a:t>
            </a:r>
            <a:r>
              <a:rPr lang="en-US" dirty="0"/>
              <a:t> A must:</a:t>
            </a:r>
          </a:p>
          <a:p>
            <a:r>
              <a:rPr lang="en-US" b="1" dirty="0"/>
              <a:t>Create and transfer m product data sets</a:t>
            </a:r>
            <a:r>
              <a:rPr lang="en-US" dirty="0"/>
              <a:t> so that each retailer can correctly interpret and sell </a:t>
            </a:r>
            <a:r>
              <a:rPr lang="en-US" dirty="0" err="1"/>
              <a:t>Coorp</a:t>
            </a:r>
            <a:r>
              <a:rPr lang="en-US" dirty="0"/>
              <a:t> A’s products. That means </a:t>
            </a:r>
            <a:r>
              <a:rPr lang="en-US" dirty="0" err="1"/>
              <a:t>Coorp</a:t>
            </a:r>
            <a:r>
              <a:rPr lang="en-US" dirty="0"/>
              <a:t> A needs to adapt its product information for every partner it collaborates with.</a:t>
            </a:r>
          </a:p>
          <a:p>
            <a:r>
              <a:rPr lang="en-US" b="1" dirty="0"/>
              <a:t>Keep all m product sets up to date</a:t>
            </a:r>
            <a:r>
              <a:rPr lang="en-US" dirty="0"/>
              <a:t> as products change (new ancillaries, fare attributes, updates, etc.).</a:t>
            </a:r>
          </a:p>
          <a:p>
            <a:r>
              <a:rPr lang="en-US" dirty="0"/>
              <a:t>This creates enormous data maintenance and synchronization challenges if there’s no common product data standard.</a:t>
            </a:r>
          </a:p>
          <a:p>
            <a:br>
              <a:rPr lang="en-US" dirty="0"/>
            </a:br>
            <a:r>
              <a:rPr lang="en-US" b="1" dirty="0"/>
              <a:t>In short:</a:t>
            </a:r>
          </a:p>
          <a:p>
            <a:r>
              <a:rPr lang="en-US" dirty="0"/>
              <a:t>As a supplier, I must create and maintain m consistent product catalogues so all my retailers can read, interpret, and sell my products correctly.</a:t>
            </a:r>
          </a:p>
          <a:p>
            <a:r>
              <a:rPr lang="en-US" dirty="0"/>
              <a:t>This is the </a:t>
            </a:r>
            <a:r>
              <a:rPr lang="en-US" b="1" dirty="0"/>
              <a:t>second half</a:t>
            </a:r>
            <a:r>
              <a:rPr lang="en-US" dirty="0"/>
              <a:t> of the problem- the </a:t>
            </a:r>
            <a:r>
              <a:rPr lang="en-US" i="1" dirty="0"/>
              <a:t>supplier challenge</a:t>
            </a:r>
            <a:r>
              <a:rPr lang="en-US" dirty="0"/>
              <a:t>.</a:t>
            </a:r>
          </a:p>
          <a:p>
            <a:endParaRPr lang="en-US" dirty="0"/>
          </a:p>
        </p:txBody>
      </p:sp>
      <p:sp>
        <p:nvSpPr>
          <p:cNvPr id="4" name="Espace réservé du numéro de diapositive 3">
            <a:extLst>
              <a:ext uri="{FF2B5EF4-FFF2-40B4-BE49-F238E27FC236}">
                <a16:creationId xmlns:a16="http://schemas.microsoft.com/office/drawing/2014/main" id="{1D025BC8-D71C-22DD-066F-C196C9CFADD2}"/>
              </a:ext>
            </a:extLst>
          </p:cNvPr>
          <p:cNvSpPr>
            <a:spLocks noGrp="1"/>
          </p:cNvSpPr>
          <p:nvPr>
            <p:ph type="sldNum" sz="quarter" idx="5"/>
          </p:nvPr>
        </p:nvSpPr>
        <p:spPr/>
        <p:txBody>
          <a:bodyPr/>
          <a:lstStyle/>
          <a:p>
            <a:fld id="{D59BF1CB-051C-214C-8967-44987813EE10}" type="slidenum">
              <a:rPr lang="en-US" smtClean="0"/>
              <a:t>14</a:t>
            </a:fld>
            <a:endParaRPr lang="en-US"/>
          </a:p>
        </p:txBody>
      </p:sp>
    </p:spTree>
    <p:extLst>
      <p:ext uri="{BB962C8B-B14F-4D97-AF65-F5344CB8AC3E}">
        <p14:creationId xmlns:p14="http://schemas.microsoft.com/office/powerpoint/2010/main" val="3663912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8B31B-EBFB-5634-8689-8ACCD83FD14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F7F7D81-EACA-F9CF-13EA-3FB66DF9247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73FF1B8C-36A6-5B2D-2488-0DD99B52DEC7}"/>
              </a:ext>
            </a:extLst>
          </p:cNvPr>
          <p:cNvSpPr>
            <a:spLocks noGrp="1"/>
          </p:cNvSpPr>
          <p:nvPr>
            <p:ph type="body" idx="1"/>
          </p:nvPr>
        </p:nvSpPr>
        <p:spPr/>
        <p:txBody>
          <a:bodyPr/>
          <a:lstStyle/>
          <a:p>
            <a:r>
              <a:rPr lang="en-US" dirty="0"/>
              <a:t>As consequence we need a full flexible and extensible framework which nevertheless can be automated in terms of processing on a large industry scale as there are </a:t>
            </a:r>
            <a:r>
              <a:rPr lang="en-US" dirty="0" err="1"/>
              <a:t>n:m</a:t>
            </a:r>
            <a:r>
              <a:rPr lang="en-US" dirty="0"/>
              <a:t> </a:t>
            </a:r>
            <a:r>
              <a:rPr lang="en-US" dirty="0" err="1"/>
              <a:t>agreeements</a:t>
            </a:r>
            <a:r>
              <a:rPr lang="en-US" dirty="0"/>
              <a:t> in place </a:t>
            </a:r>
          </a:p>
          <a:p>
            <a:r>
              <a:rPr lang="en-US" dirty="0"/>
              <a:t>As an airline I have 1:n partner agreements and I am part</a:t>
            </a:r>
          </a:p>
        </p:txBody>
      </p:sp>
      <p:sp>
        <p:nvSpPr>
          <p:cNvPr id="4" name="Espace réservé du numéro de diapositive 3">
            <a:extLst>
              <a:ext uri="{FF2B5EF4-FFF2-40B4-BE49-F238E27FC236}">
                <a16:creationId xmlns:a16="http://schemas.microsoft.com/office/drawing/2014/main" id="{D0A37ADF-1AFB-0C7F-922D-F834D37CD905}"/>
              </a:ext>
            </a:extLst>
          </p:cNvPr>
          <p:cNvSpPr>
            <a:spLocks noGrp="1"/>
          </p:cNvSpPr>
          <p:nvPr>
            <p:ph type="sldNum" sz="quarter" idx="5"/>
          </p:nvPr>
        </p:nvSpPr>
        <p:spPr/>
        <p:txBody>
          <a:bodyPr/>
          <a:lstStyle/>
          <a:p>
            <a:fld id="{D59BF1CB-051C-214C-8967-44987813EE10}" type="slidenum">
              <a:rPr lang="en-US" smtClean="0"/>
              <a:t>15</a:t>
            </a:fld>
            <a:endParaRPr lang="en-US"/>
          </a:p>
        </p:txBody>
      </p:sp>
    </p:spTree>
    <p:extLst>
      <p:ext uri="{BB962C8B-B14F-4D97-AF65-F5344CB8AC3E}">
        <p14:creationId xmlns:p14="http://schemas.microsoft.com/office/powerpoint/2010/main" val="13187804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_Title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5DEED-A00F-432E-919B-A31AE102E4CC}"/>
              </a:ext>
            </a:extLst>
          </p:cNvPr>
          <p:cNvSpPr>
            <a:spLocks noGrp="1"/>
          </p:cNvSpPr>
          <p:nvPr>
            <p:ph type="ctrTitle"/>
          </p:nvPr>
        </p:nvSpPr>
        <p:spPr>
          <a:xfrm>
            <a:off x="381000" y="1485900"/>
            <a:ext cx="5904000" cy="2387600"/>
          </a:xfrm>
        </p:spPr>
        <p:txBody>
          <a:bodyPr anchor="t" anchorCtr="0"/>
          <a:lstStyle>
            <a:lvl1pPr algn="l">
              <a:lnSpc>
                <a:spcPts val="5800"/>
              </a:lnSpc>
              <a:defRPr sz="5600">
                <a:solidFill>
                  <a:schemeClr val="accent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232A637-F57B-4008-8DC2-4D2B8ECC1A66}"/>
              </a:ext>
            </a:extLst>
          </p:cNvPr>
          <p:cNvSpPr>
            <a:spLocks noGrp="1"/>
          </p:cNvSpPr>
          <p:nvPr>
            <p:ph type="subTitle" idx="1"/>
          </p:nvPr>
        </p:nvSpPr>
        <p:spPr>
          <a:xfrm>
            <a:off x="381000" y="3965575"/>
            <a:ext cx="5904000" cy="1655762"/>
          </a:xfrm>
        </p:spPr>
        <p:txBody>
          <a:bodyPr anchor="t" anchorCtr="0"/>
          <a:lstStyle>
            <a:lvl1pPr marL="0" indent="0" algn="l">
              <a:lnSpc>
                <a:spcPts val="3400"/>
              </a:lnSpc>
              <a:spcBef>
                <a:spcPts val="0"/>
              </a:spcBef>
              <a:spcAft>
                <a:spcPts val="1400"/>
              </a:spcAft>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reeform 5">
            <a:extLst>
              <a:ext uri="{FF2B5EF4-FFF2-40B4-BE49-F238E27FC236}">
                <a16:creationId xmlns:a16="http://schemas.microsoft.com/office/drawing/2014/main" id="{7013E3A3-37C5-400E-905D-C7BC5CA55E5C}"/>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Date Placeholder 7">
            <a:extLst>
              <a:ext uri="{FF2B5EF4-FFF2-40B4-BE49-F238E27FC236}">
                <a16:creationId xmlns:a16="http://schemas.microsoft.com/office/drawing/2014/main" id="{BEE11BD8-6580-41DD-940E-B1D1B8B2E210}"/>
              </a:ext>
            </a:extLst>
          </p:cNvPr>
          <p:cNvSpPr>
            <a:spLocks noGrp="1"/>
          </p:cNvSpPr>
          <p:nvPr>
            <p:ph type="dt" sz="half" idx="14"/>
          </p:nvPr>
        </p:nvSpPr>
        <p:spPr/>
        <p:txBody>
          <a:bodyPr/>
          <a:lstStyle>
            <a:lvl1pPr>
              <a:defRPr>
                <a:solidFill>
                  <a:schemeClr val="accent1"/>
                </a:solidFill>
              </a:defRPr>
            </a:lvl1pPr>
          </a:lstStyle>
          <a:p>
            <a:r>
              <a:rPr lang="de-DE"/>
              <a:t>02 November 2025</a:t>
            </a:r>
            <a:endParaRPr lang="en-US"/>
          </a:p>
        </p:txBody>
      </p:sp>
      <p:sp>
        <p:nvSpPr>
          <p:cNvPr id="10" name="Footer Placeholder 9">
            <a:extLst>
              <a:ext uri="{FF2B5EF4-FFF2-40B4-BE49-F238E27FC236}">
                <a16:creationId xmlns:a16="http://schemas.microsoft.com/office/drawing/2014/main" id="{897A30E8-35A3-4CE7-93BA-293D648C86FF}"/>
              </a:ext>
            </a:extLst>
          </p:cNvPr>
          <p:cNvSpPr>
            <a:spLocks noGrp="1"/>
          </p:cNvSpPr>
          <p:nvPr>
            <p:ph type="ftr" sz="quarter" idx="15"/>
          </p:nvPr>
        </p:nvSpPr>
        <p:spPr/>
        <p:txBody>
          <a:bodyPr/>
          <a:lstStyle>
            <a:lvl1pPr>
              <a:defRPr>
                <a:solidFill>
                  <a:schemeClr val="accent1"/>
                </a:solidFill>
              </a:defRPr>
            </a:lvl1pPr>
          </a:lstStyle>
          <a:p>
            <a:r>
              <a:rPr lang="en-US"/>
              <a:t>APMWG</a:t>
            </a:r>
          </a:p>
        </p:txBody>
      </p:sp>
      <p:sp>
        <p:nvSpPr>
          <p:cNvPr id="11" name="Slide Number Placeholder 10">
            <a:extLst>
              <a:ext uri="{FF2B5EF4-FFF2-40B4-BE49-F238E27FC236}">
                <a16:creationId xmlns:a16="http://schemas.microsoft.com/office/drawing/2014/main" id="{69738BE3-1506-4C98-A8EE-0BB4912D32CC}"/>
              </a:ext>
            </a:extLst>
          </p:cNvPr>
          <p:cNvSpPr>
            <a:spLocks noGrp="1"/>
          </p:cNvSpPr>
          <p:nvPr>
            <p:ph type="sldNum" sz="quarter" idx="16"/>
          </p:nvPr>
        </p:nvSpPr>
        <p:spPr/>
        <p:txBody>
          <a:bodyPr/>
          <a:lstStyle>
            <a:lvl1pPr>
              <a:defRPr>
                <a:solidFill>
                  <a:schemeClr val="accent1"/>
                </a:solidFill>
              </a:defRPr>
            </a:lvl1pPr>
          </a:lstStyle>
          <a:p>
            <a:fld id="{1A9E565A-6679-4A67-8FB7-14EA342FD6E1}" type="slidenum">
              <a:rPr lang="en-US" smtClean="0"/>
              <a:pPr/>
              <a:t>‹N°›</a:t>
            </a:fld>
            <a:endParaRPr lang="en-US"/>
          </a:p>
        </p:txBody>
      </p:sp>
    </p:spTree>
    <p:extLst>
      <p:ext uri="{BB962C8B-B14F-4D97-AF65-F5344CB8AC3E}">
        <p14:creationId xmlns:p14="http://schemas.microsoft.com/office/powerpoint/2010/main" val="131973905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BLUE_TextSlide_1-colum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821CC-265E-473E-BD96-BC93B6A49D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4C4D5EE-B9EC-4B8B-B697-CD3B955461A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N°›</a:t>
            </a:fld>
            <a:endParaRPr lang="en-US"/>
          </a:p>
        </p:txBody>
      </p:sp>
    </p:spTree>
    <p:extLst>
      <p:ext uri="{BB962C8B-B14F-4D97-AF65-F5344CB8AC3E}">
        <p14:creationId xmlns:p14="http://schemas.microsoft.com/office/powerpoint/2010/main" val="30361559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8_BLUE_TextSlide_2-colum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37838-0F4C-4B60-9EA9-A72EA55398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CB9B81-F331-4A9C-BE92-11CAB2A6B4B3}"/>
              </a:ext>
            </a:extLst>
          </p:cNvPr>
          <p:cNvSpPr>
            <a:spLocks noGrp="1"/>
          </p:cNvSpPr>
          <p:nvPr>
            <p:ph sz="half" idx="1"/>
          </p:nvPr>
        </p:nvSpPr>
        <p:spPr>
          <a:xfrm>
            <a:off x="381676" y="1485900"/>
            <a:ext cx="5523824" cy="426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6FE12FA-2958-4BD2-846B-0E828DE720BE}"/>
              </a:ext>
            </a:extLst>
          </p:cNvPr>
          <p:cNvSpPr>
            <a:spLocks noGrp="1"/>
          </p:cNvSpPr>
          <p:nvPr>
            <p:ph sz="half" idx="2"/>
          </p:nvPr>
        </p:nvSpPr>
        <p:spPr>
          <a:xfrm>
            <a:off x="6287176" y="1485900"/>
            <a:ext cx="5523824" cy="426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5227B3-9D23-4B0B-B20D-E90AB0E09E52}"/>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3AF83FD3-9274-482A-8C94-F5BC022606D3}"/>
              </a:ext>
            </a:extLst>
          </p:cNvPr>
          <p:cNvSpPr>
            <a:spLocks noGrp="1"/>
          </p:cNvSpPr>
          <p:nvPr>
            <p:ph type="ftr" sz="quarter" idx="11"/>
          </p:nvPr>
        </p:nvSpPr>
        <p:spPr/>
        <p:txBody>
          <a:bodyPr/>
          <a:lstStyle/>
          <a:p>
            <a:r>
              <a:rPr lang="en-US"/>
              <a:t>APMWG</a:t>
            </a:r>
          </a:p>
        </p:txBody>
      </p:sp>
      <p:sp>
        <p:nvSpPr>
          <p:cNvPr id="7" name="Slide Number Placeholder 6">
            <a:extLst>
              <a:ext uri="{FF2B5EF4-FFF2-40B4-BE49-F238E27FC236}">
                <a16:creationId xmlns:a16="http://schemas.microsoft.com/office/drawing/2014/main" id="{ECC19CC5-1292-4F3E-AC14-45654E86320F}"/>
              </a:ext>
            </a:extLst>
          </p:cNvPr>
          <p:cNvSpPr>
            <a:spLocks noGrp="1"/>
          </p:cNvSpPr>
          <p:nvPr>
            <p:ph type="sldNum" sz="quarter" idx="12"/>
          </p:nvPr>
        </p:nvSpPr>
        <p:spPr/>
        <p:txBody>
          <a:bodyPr/>
          <a:lstStyle/>
          <a:p>
            <a:fld id="{1A9E565A-6679-4A67-8FB7-14EA342FD6E1}" type="slidenum">
              <a:rPr lang="en-US" smtClean="0"/>
              <a:t>‹N°›</a:t>
            </a:fld>
            <a:endParaRPr lang="en-US"/>
          </a:p>
        </p:txBody>
      </p:sp>
    </p:spTree>
    <p:extLst>
      <p:ext uri="{BB962C8B-B14F-4D97-AF65-F5344CB8AC3E}">
        <p14:creationId xmlns:p14="http://schemas.microsoft.com/office/powerpoint/2010/main" val="1798023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8_BLUE_TextSlide_HalfWHITE">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3E5526-44A7-4802-9622-D2E3D788FC3F}"/>
              </a:ext>
            </a:extLst>
          </p:cNvPr>
          <p:cNvSpPr>
            <a:spLocks noChangeAspect="1" noChangeArrowheads="1"/>
          </p:cNvSpPr>
          <p:nvPr userDrawn="1"/>
        </p:nvSpPr>
        <p:spPr bwMode="auto">
          <a:xfrm>
            <a:off x="5905500" y="-4558"/>
            <a:ext cx="6286499" cy="686255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a:extLst>
              <a:ext uri="{FF2B5EF4-FFF2-40B4-BE49-F238E27FC236}">
                <a16:creationId xmlns:a16="http://schemas.microsoft.com/office/drawing/2014/main" id="{F6337838-0F4C-4B60-9EA9-A72EA5539849}"/>
              </a:ext>
            </a:extLst>
          </p:cNvPr>
          <p:cNvSpPr>
            <a:spLocks noGrp="1"/>
          </p:cNvSpPr>
          <p:nvPr>
            <p:ph type="title"/>
          </p:nvPr>
        </p:nvSpPr>
        <p:spPr>
          <a:xfrm>
            <a:off x="381000" y="365125"/>
            <a:ext cx="5111496" cy="6093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CB9B81-F331-4A9C-BE92-11CAB2A6B4B3}"/>
              </a:ext>
            </a:extLst>
          </p:cNvPr>
          <p:cNvSpPr>
            <a:spLocks noGrp="1"/>
          </p:cNvSpPr>
          <p:nvPr>
            <p:ph sz="half" idx="1"/>
          </p:nvPr>
        </p:nvSpPr>
        <p:spPr>
          <a:xfrm>
            <a:off x="381676" y="1895124"/>
            <a:ext cx="5111496" cy="38579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5227B3-9D23-4B0B-B20D-E90AB0E09E52}"/>
              </a:ext>
            </a:extLst>
          </p:cNvPr>
          <p:cNvSpPr>
            <a:spLocks noGrp="1"/>
          </p:cNvSpPr>
          <p:nvPr>
            <p:ph type="dt" sz="half" idx="10"/>
          </p:nvPr>
        </p:nvSpPr>
        <p:spPr/>
        <p:txBody>
          <a:bodyPr/>
          <a:lstStyle>
            <a:lvl1pPr>
              <a:defRPr>
                <a:solidFill>
                  <a:schemeClr val="accent1"/>
                </a:solidFill>
              </a:defRPr>
            </a:lvl1pPr>
          </a:lstStyle>
          <a:p>
            <a:r>
              <a:rPr lang="de-DE"/>
              <a:t>02 November 2025</a:t>
            </a:r>
            <a:endParaRPr lang="en-US"/>
          </a:p>
        </p:txBody>
      </p:sp>
      <p:sp>
        <p:nvSpPr>
          <p:cNvPr id="6" name="Footer Placeholder 5">
            <a:extLst>
              <a:ext uri="{FF2B5EF4-FFF2-40B4-BE49-F238E27FC236}">
                <a16:creationId xmlns:a16="http://schemas.microsoft.com/office/drawing/2014/main" id="{3AF83FD3-9274-482A-8C94-F5BC022606D3}"/>
              </a:ext>
            </a:extLst>
          </p:cNvPr>
          <p:cNvSpPr>
            <a:spLocks noGrp="1"/>
          </p:cNvSpPr>
          <p:nvPr>
            <p:ph type="ftr" sz="quarter" idx="11"/>
          </p:nvPr>
        </p:nvSpPr>
        <p:spPr/>
        <p:txBody>
          <a:bodyPr/>
          <a:lstStyle/>
          <a:p>
            <a:r>
              <a:rPr lang="en-US"/>
              <a:t>APMWG</a:t>
            </a:r>
          </a:p>
        </p:txBody>
      </p:sp>
      <p:sp>
        <p:nvSpPr>
          <p:cNvPr id="7" name="Slide Number Placeholder 6">
            <a:extLst>
              <a:ext uri="{FF2B5EF4-FFF2-40B4-BE49-F238E27FC236}">
                <a16:creationId xmlns:a16="http://schemas.microsoft.com/office/drawing/2014/main" id="{ECC19CC5-1292-4F3E-AC14-45654E86320F}"/>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11" name="Content Placeholder 2">
            <a:extLst>
              <a:ext uri="{FF2B5EF4-FFF2-40B4-BE49-F238E27FC236}">
                <a16:creationId xmlns:a16="http://schemas.microsoft.com/office/drawing/2014/main" id="{EA361C7D-7C39-4CCC-9D8D-DF9D6DCE322D}"/>
              </a:ext>
            </a:extLst>
          </p:cNvPr>
          <p:cNvSpPr>
            <a:spLocks noGrp="1"/>
          </p:cNvSpPr>
          <p:nvPr>
            <p:ph sz="half" idx="13"/>
          </p:nvPr>
        </p:nvSpPr>
        <p:spPr>
          <a:xfrm>
            <a:off x="6286500" y="1895124"/>
            <a:ext cx="5523824" cy="38579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0567ACBA-C59B-4266-81F7-DC6E4B287135}"/>
              </a:ext>
            </a:extLst>
          </p:cNvPr>
          <p:cNvSpPr>
            <a:spLocks noGrp="1"/>
          </p:cNvSpPr>
          <p:nvPr>
            <p:ph type="body" sz="quarter" idx="3"/>
          </p:nvPr>
        </p:nvSpPr>
        <p:spPr>
          <a:xfrm>
            <a:off x="6286500" y="365760"/>
            <a:ext cx="5524500" cy="612648"/>
          </a:xfrm>
        </p:spPr>
        <p:txBody>
          <a:bodyPr anchor="t" anchorCtr="0"/>
          <a:lstStyle>
            <a:lvl1pPr marL="0" indent="0">
              <a:spcBef>
                <a:spcPts val="0"/>
              </a:spcBef>
              <a:buNone/>
              <a:defRPr sz="4400" b="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Freeform 5">
            <a:extLst>
              <a:ext uri="{FF2B5EF4-FFF2-40B4-BE49-F238E27FC236}">
                <a16:creationId xmlns:a16="http://schemas.microsoft.com/office/drawing/2014/main" id="{91611159-BED4-4F11-B305-D8BD68F2E24C}"/>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6505009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8_BLUE_TextSlide_Comparison-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BDDEA-E526-4855-9C7F-14521DF887FB}"/>
              </a:ext>
            </a:extLst>
          </p:cNvPr>
          <p:cNvSpPr>
            <a:spLocks noGrp="1"/>
          </p:cNvSpPr>
          <p:nvPr>
            <p:ph type="title"/>
          </p:nvPr>
        </p:nvSpPr>
        <p:spPr>
          <a:xfrm>
            <a:off x="381000" y="365125"/>
            <a:ext cx="11430000" cy="612648"/>
          </a:xfrm>
        </p:spPr>
        <p:txBody>
          <a:bodyPr/>
          <a:lstStyle>
            <a:lvl1pPr>
              <a:defRPr/>
            </a:lvl1pPr>
          </a:lstStyle>
          <a:p>
            <a:r>
              <a:rPr lang="en-US"/>
              <a:t>Click to edit Master title style</a:t>
            </a:r>
          </a:p>
        </p:txBody>
      </p:sp>
      <p:sp>
        <p:nvSpPr>
          <p:cNvPr id="3" name="Text Placeholder 2">
            <a:extLst>
              <a:ext uri="{FF2B5EF4-FFF2-40B4-BE49-F238E27FC236}">
                <a16:creationId xmlns:a16="http://schemas.microsoft.com/office/drawing/2014/main" id="{FC1214A8-797C-4060-87C6-8AD2576B2F82}"/>
              </a:ext>
            </a:extLst>
          </p:cNvPr>
          <p:cNvSpPr>
            <a:spLocks noGrp="1"/>
          </p:cNvSpPr>
          <p:nvPr>
            <p:ph type="body" idx="1"/>
          </p:nvPr>
        </p:nvSpPr>
        <p:spPr>
          <a:xfrm>
            <a:off x="381000" y="1485900"/>
            <a:ext cx="5524500" cy="612648"/>
          </a:xfrm>
        </p:spPr>
        <p:txBody>
          <a:bodyPr anchor="t" anchorCtr="0"/>
          <a:lstStyle>
            <a:lvl1pPr marL="0" indent="0">
              <a:buNone/>
              <a:defRPr sz="28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4E1BC1E-80A3-473E-AD5D-46B0D9328EF9}"/>
              </a:ext>
            </a:extLst>
          </p:cNvPr>
          <p:cNvSpPr>
            <a:spLocks noGrp="1"/>
          </p:cNvSpPr>
          <p:nvPr>
            <p:ph sz="half" idx="2"/>
          </p:nvPr>
        </p:nvSpPr>
        <p:spPr>
          <a:xfrm>
            <a:off x="381000" y="2098548"/>
            <a:ext cx="5524500" cy="365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58E02DB-026F-4957-99F9-809354C0EE40}"/>
              </a:ext>
            </a:extLst>
          </p:cNvPr>
          <p:cNvSpPr>
            <a:spLocks noGrp="1"/>
          </p:cNvSpPr>
          <p:nvPr>
            <p:ph type="body" sz="quarter" idx="3"/>
          </p:nvPr>
        </p:nvSpPr>
        <p:spPr>
          <a:xfrm>
            <a:off x="6286500" y="1485900"/>
            <a:ext cx="5524500" cy="612648"/>
          </a:xfrm>
        </p:spPr>
        <p:txBody>
          <a:bodyPr anchor="t" anchorCtr="0"/>
          <a:lstStyle>
            <a:lvl1pPr marL="0" indent="0">
              <a:buNone/>
              <a:defRPr sz="28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556944C-3AA2-4F0B-A504-74A0CCAAEF6D}"/>
              </a:ext>
            </a:extLst>
          </p:cNvPr>
          <p:cNvSpPr>
            <a:spLocks noGrp="1"/>
          </p:cNvSpPr>
          <p:nvPr>
            <p:ph sz="quarter" idx="4"/>
          </p:nvPr>
        </p:nvSpPr>
        <p:spPr>
          <a:xfrm>
            <a:off x="6286500" y="2098548"/>
            <a:ext cx="5524500" cy="3654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7357BB3-C55D-4F69-B727-7B5B633EC65A}"/>
              </a:ext>
            </a:extLst>
          </p:cNvPr>
          <p:cNvSpPr>
            <a:spLocks noGrp="1"/>
          </p:cNvSpPr>
          <p:nvPr>
            <p:ph type="dt" sz="half" idx="10"/>
          </p:nvPr>
        </p:nvSpPr>
        <p:spPr/>
        <p:txBody>
          <a:bodyPr/>
          <a:lstStyle/>
          <a:p>
            <a:r>
              <a:rPr lang="de-DE"/>
              <a:t>02 November 2025</a:t>
            </a:r>
            <a:endParaRPr lang="en-US"/>
          </a:p>
        </p:txBody>
      </p:sp>
      <p:sp>
        <p:nvSpPr>
          <p:cNvPr id="8" name="Footer Placeholder 7">
            <a:extLst>
              <a:ext uri="{FF2B5EF4-FFF2-40B4-BE49-F238E27FC236}">
                <a16:creationId xmlns:a16="http://schemas.microsoft.com/office/drawing/2014/main" id="{D5DDB539-55B0-4F25-BA28-339645F57CBF}"/>
              </a:ext>
            </a:extLst>
          </p:cNvPr>
          <p:cNvSpPr>
            <a:spLocks noGrp="1"/>
          </p:cNvSpPr>
          <p:nvPr>
            <p:ph type="ftr" sz="quarter" idx="11"/>
          </p:nvPr>
        </p:nvSpPr>
        <p:spPr/>
        <p:txBody>
          <a:bodyPr/>
          <a:lstStyle/>
          <a:p>
            <a:r>
              <a:rPr lang="en-US"/>
              <a:t>APMWG</a:t>
            </a:r>
          </a:p>
        </p:txBody>
      </p:sp>
      <p:sp>
        <p:nvSpPr>
          <p:cNvPr id="9" name="Slide Number Placeholder 8">
            <a:extLst>
              <a:ext uri="{FF2B5EF4-FFF2-40B4-BE49-F238E27FC236}">
                <a16:creationId xmlns:a16="http://schemas.microsoft.com/office/drawing/2014/main" id="{71DB7E29-6758-4FB6-9E0A-4D8EA016E739}"/>
              </a:ext>
            </a:extLst>
          </p:cNvPr>
          <p:cNvSpPr>
            <a:spLocks noGrp="1"/>
          </p:cNvSpPr>
          <p:nvPr>
            <p:ph type="sldNum" sz="quarter" idx="12"/>
          </p:nvPr>
        </p:nvSpPr>
        <p:spPr/>
        <p:txBody>
          <a:bodyPr/>
          <a:lstStyle/>
          <a:p>
            <a:fld id="{1A9E565A-6679-4A67-8FB7-14EA342FD6E1}" type="slidenum">
              <a:rPr lang="en-US" smtClean="0"/>
              <a:t>‹N°›</a:t>
            </a:fld>
            <a:endParaRPr lang="en-US"/>
          </a:p>
        </p:txBody>
      </p:sp>
    </p:spTree>
    <p:extLst>
      <p:ext uri="{BB962C8B-B14F-4D97-AF65-F5344CB8AC3E}">
        <p14:creationId xmlns:p14="http://schemas.microsoft.com/office/powerpoint/2010/main" val="80976390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BLUE_Text+Photo-Right">
    <p:bg>
      <p:bgPr>
        <a:solidFill>
          <a:schemeClr val="accent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2074C495-4469-4CCB-ACB6-785703BC581F}"/>
              </a:ext>
            </a:extLst>
          </p:cNvPr>
          <p:cNvSpPr>
            <a:spLocks noGrp="1"/>
          </p:cNvSpPr>
          <p:nvPr>
            <p:ph type="pic" sz="quarter" idx="13"/>
          </p:nvPr>
        </p:nvSpPr>
        <p:spPr>
          <a:xfrm>
            <a:off x="5905500" y="0"/>
            <a:ext cx="6286500" cy="6858000"/>
          </a:xfrm>
          <a:solidFill>
            <a:schemeClr val="bg2">
              <a:lumMod val="90000"/>
            </a:schemeClr>
          </a:solidFill>
        </p:spPr>
        <p:txBody>
          <a:bodyPr anchor="ctr" anchorCtr="0"/>
          <a:lstStyle>
            <a:lvl1pPr algn="ctr">
              <a:defRPr/>
            </a:lvl1pPr>
          </a:lstStyle>
          <a:p>
            <a:endParaRPr lang="en-US"/>
          </a:p>
        </p:txBody>
      </p:sp>
      <p:sp>
        <p:nvSpPr>
          <p:cNvPr id="2" name="Title 1">
            <a:extLst>
              <a:ext uri="{FF2B5EF4-FFF2-40B4-BE49-F238E27FC236}">
                <a16:creationId xmlns:a16="http://schemas.microsoft.com/office/drawing/2014/main" id="{13BBDDEA-E526-4855-9C7F-14521DF887FB}"/>
              </a:ext>
            </a:extLst>
          </p:cNvPr>
          <p:cNvSpPr>
            <a:spLocks noGrp="1"/>
          </p:cNvSpPr>
          <p:nvPr>
            <p:ph type="title"/>
          </p:nvPr>
        </p:nvSpPr>
        <p:spPr>
          <a:xfrm>
            <a:off x="381000" y="365125"/>
            <a:ext cx="4736592" cy="612648"/>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B4E1BC1E-80A3-473E-AD5D-46B0D9328EF9}"/>
              </a:ext>
            </a:extLst>
          </p:cNvPr>
          <p:cNvSpPr>
            <a:spLocks noGrp="1"/>
          </p:cNvSpPr>
          <p:nvPr>
            <p:ph sz="half" idx="2"/>
          </p:nvPr>
        </p:nvSpPr>
        <p:spPr>
          <a:xfrm>
            <a:off x="381000" y="1905000"/>
            <a:ext cx="4736592" cy="3848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7357BB3-C55D-4F69-B727-7B5B633EC65A}"/>
              </a:ext>
            </a:extLst>
          </p:cNvPr>
          <p:cNvSpPr>
            <a:spLocks noGrp="1"/>
          </p:cNvSpPr>
          <p:nvPr>
            <p:ph type="dt" sz="half" idx="10"/>
          </p:nvPr>
        </p:nvSpPr>
        <p:spPr/>
        <p:txBody>
          <a:bodyPr/>
          <a:lstStyle/>
          <a:p>
            <a:r>
              <a:rPr lang="de-DE"/>
              <a:t>02 November 2025</a:t>
            </a:r>
            <a:endParaRPr lang="en-US"/>
          </a:p>
        </p:txBody>
      </p:sp>
      <p:sp>
        <p:nvSpPr>
          <p:cNvPr id="8" name="Footer Placeholder 7">
            <a:extLst>
              <a:ext uri="{FF2B5EF4-FFF2-40B4-BE49-F238E27FC236}">
                <a16:creationId xmlns:a16="http://schemas.microsoft.com/office/drawing/2014/main" id="{D5DDB539-55B0-4F25-BA28-339645F57CBF}"/>
              </a:ext>
            </a:extLst>
          </p:cNvPr>
          <p:cNvSpPr>
            <a:spLocks noGrp="1"/>
          </p:cNvSpPr>
          <p:nvPr>
            <p:ph type="ftr" sz="quarter" idx="11"/>
          </p:nvPr>
        </p:nvSpPr>
        <p:spPr/>
        <p:txBody>
          <a:bodyPr/>
          <a:lstStyle/>
          <a:p>
            <a:r>
              <a:rPr lang="en-US"/>
              <a:t>APMWG</a:t>
            </a:r>
          </a:p>
        </p:txBody>
      </p:sp>
      <p:sp>
        <p:nvSpPr>
          <p:cNvPr id="9" name="Slide Number Placeholder 8">
            <a:extLst>
              <a:ext uri="{FF2B5EF4-FFF2-40B4-BE49-F238E27FC236}">
                <a16:creationId xmlns:a16="http://schemas.microsoft.com/office/drawing/2014/main" id="{71DB7E29-6758-4FB6-9E0A-4D8EA016E739}"/>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11" name="Freeform 5">
            <a:extLst>
              <a:ext uri="{FF2B5EF4-FFF2-40B4-BE49-F238E27FC236}">
                <a16:creationId xmlns:a16="http://schemas.microsoft.com/office/drawing/2014/main" id="{D35CE5DD-A59F-470A-A52C-23C9D5559E19}"/>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tx1"/>
              </a:solidFill>
            </a:endParaRPr>
          </a:p>
        </p:txBody>
      </p:sp>
    </p:spTree>
    <p:extLst>
      <p:ext uri="{BB962C8B-B14F-4D97-AF65-F5344CB8AC3E}">
        <p14:creationId xmlns:p14="http://schemas.microsoft.com/office/powerpoint/2010/main" val="15126382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BLUE_Text+Photo-Left">
    <p:bg>
      <p:bgPr>
        <a:solidFill>
          <a:schemeClr val="accent1"/>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2074C495-4469-4CCB-ACB6-785703BC581F}"/>
              </a:ext>
            </a:extLst>
          </p:cNvPr>
          <p:cNvSpPr>
            <a:spLocks noGrp="1"/>
          </p:cNvSpPr>
          <p:nvPr>
            <p:ph type="pic" sz="quarter" idx="13"/>
          </p:nvPr>
        </p:nvSpPr>
        <p:spPr>
          <a:xfrm>
            <a:off x="0" y="0"/>
            <a:ext cx="5905500" cy="6858000"/>
          </a:xfrm>
          <a:solidFill>
            <a:schemeClr val="bg2">
              <a:lumMod val="90000"/>
            </a:schemeClr>
          </a:solidFill>
        </p:spPr>
        <p:txBody>
          <a:bodyPr anchor="ctr" anchorCtr="0"/>
          <a:lstStyle>
            <a:lvl1pPr algn="ctr">
              <a:defRPr/>
            </a:lvl1pPr>
          </a:lstStyle>
          <a:p>
            <a:endParaRPr lang="en-US"/>
          </a:p>
        </p:txBody>
      </p:sp>
      <p:sp>
        <p:nvSpPr>
          <p:cNvPr id="2" name="Title 1">
            <a:extLst>
              <a:ext uri="{FF2B5EF4-FFF2-40B4-BE49-F238E27FC236}">
                <a16:creationId xmlns:a16="http://schemas.microsoft.com/office/drawing/2014/main" id="{13BBDDEA-E526-4855-9C7F-14521DF887FB}"/>
              </a:ext>
            </a:extLst>
          </p:cNvPr>
          <p:cNvSpPr>
            <a:spLocks noGrp="1"/>
          </p:cNvSpPr>
          <p:nvPr>
            <p:ph type="title"/>
          </p:nvPr>
        </p:nvSpPr>
        <p:spPr>
          <a:xfrm>
            <a:off x="6286500" y="365125"/>
            <a:ext cx="5524500" cy="612648"/>
          </a:xfrm>
        </p:spPr>
        <p:txBody>
          <a:bodyPr/>
          <a:lstStyle>
            <a:lvl1pPr>
              <a:defRPr/>
            </a:lvl1pPr>
          </a:lstStyle>
          <a:p>
            <a:r>
              <a:rPr lang="en-US"/>
              <a:t>Click to edit Master title style</a:t>
            </a:r>
          </a:p>
        </p:txBody>
      </p:sp>
      <p:sp>
        <p:nvSpPr>
          <p:cNvPr id="4" name="Content Placeholder 3">
            <a:extLst>
              <a:ext uri="{FF2B5EF4-FFF2-40B4-BE49-F238E27FC236}">
                <a16:creationId xmlns:a16="http://schemas.microsoft.com/office/drawing/2014/main" id="{B4E1BC1E-80A3-473E-AD5D-46B0D9328EF9}"/>
              </a:ext>
            </a:extLst>
          </p:cNvPr>
          <p:cNvSpPr>
            <a:spLocks noGrp="1"/>
          </p:cNvSpPr>
          <p:nvPr>
            <p:ph sz="half" idx="2"/>
          </p:nvPr>
        </p:nvSpPr>
        <p:spPr>
          <a:xfrm>
            <a:off x="6286500" y="1905000"/>
            <a:ext cx="5524500" cy="3848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7357BB3-C55D-4F69-B727-7B5B633EC65A}"/>
              </a:ext>
            </a:extLst>
          </p:cNvPr>
          <p:cNvSpPr>
            <a:spLocks noGrp="1"/>
          </p:cNvSpPr>
          <p:nvPr>
            <p:ph type="dt" sz="half" idx="10"/>
          </p:nvPr>
        </p:nvSpPr>
        <p:spPr/>
        <p:txBody>
          <a:bodyPr/>
          <a:lstStyle/>
          <a:p>
            <a:r>
              <a:rPr lang="de-DE"/>
              <a:t>02 November 2025</a:t>
            </a:r>
            <a:endParaRPr lang="en-US"/>
          </a:p>
        </p:txBody>
      </p:sp>
      <p:sp>
        <p:nvSpPr>
          <p:cNvPr id="8" name="Footer Placeholder 7">
            <a:extLst>
              <a:ext uri="{FF2B5EF4-FFF2-40B4-BE49-F238E27FC236}">
                <a16:creationId xmlns:a16="http://schemas.microsoft.com/office/drawing/2014/main" id="{D5DDB539-55B0-4F25-BA28-339645F57CBF}"/>
              </a:ext>
            </a:extLst>
          </p:cNvPr>
          <p:cNvSpPr>
            <a:spLocks noGrp="1"/>
          </p:cNvSpPr>
          <p:nvPr>
            <p:ph type="ftr" sz="quarter" idx="11"/>
          </p:nvPr>
        </p:nvSpPr>
        <p:spPr/>
        <p:txBody>
          <a:bodyPr/>
          <a:lstStyle/>
          <a:p>
            <a:r>
              <a:rPr lang="en-US"/>
              <a:t>APMWG</a:t>
            </a:r>
          </a:p>
        </p:txBody>
      </p:sp>
      <p:sp>
        <p:nvSpPr>
          <p:cNvPr id="9" name="Slide Number Placeholder 8">
            <a:extLst>
              <a:ext uri="{FF2B5EF4-FFF2-40B4-BE49-F238E27FC236}">
                <a16:creationId xmlns:a16="http://schemas.microsoft.com/office/drawing/2014/main" id="{71DB7E29-6758-4FB6-9E0A-4D8EA016E739}"/>
              </a:ext>
            </a:extLst>
          </p:cNvPr>
          <p:cNvSpPr>
            <a:spLocks noGrp="1"/>
          </p:cNvSpPr>
          <p:nvPr>
            <p:ph type="sldNum" sz="quarter" idx="12"/>
          </p:nvPr>
        </p:nvSpPr>
        <p:spPr/>
        <p:txBody>
          <a:bodyPr/>
          <a:lstStyle/>
          <a:p>
            <a:fld id="{1A9E565A-6679-4A67-8FB7-14EA342FD6E1}" type="slidenum">
              <a:rPr lang="en-US" smtClean="0"/>
              <a:t>‹N°›</a:t>
            </a:fld>
            <a:endParaRPr lang="en-US"/>
          </a:p>
        </p:txBody>
      </p:sp>
    </p:spTree>
    <p:extLst>
      <p:ext uri="{BB962C8B-B14F-4D97-AF65-F5344CB8AC3E}">
        <p14:creationId xmlns:p14="http://schemas.microsoft.com/office/powerpoint/2010/main" val="245574334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8_BLUE_TextSlide_3-colum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37838-0F4C-4B60-9EA9-A72EA55398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CB9B81-F331-4A9C-BE92-11CAB2A6B4B3}"/>
              </a:ext>
            </a:extLst>
          </p:cNvPr>
          <p:cNvSpPr>
            <a:spLocks noGrp="1"/>
          </p:cNvSpPr>
          <p:nvPr>
            <p:ph sz="half" idx="1"/>
          </p:nvPr>
        </p:nvSpPr>
        <p:spPr>
          <a:xfrm>
            <a:off x="381675" y="1485900"/>
            <a:ext cx="3383280" cy="426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6FE12FA-2958-4BD2-846B-0E828DE720BE}"/>
              </a:ext>
            </a:extLst>
          </p:cNvPr>
          <p:cNvSpPr>
            <a:spLocks noGrp="1"/>
          </p:cNvSpPr>
          <p:nvPr>
            <p:ph sz="half" idx="2"/>
          </p:nvPr>
        </p:nvSpPr>
        <p:spPr>
          <a:xfrm>
            <a:off x="4404697" y="1485900"/>
            <a:ext cx="3383280" cy="426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5227B3-9D23-4B0B-B20D-E90AB0E09E52}"/>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3AF83FD3-9274-482A-8C94-F5BC022606D3}"/>
              </a:ext>
            </a:extLst>
          </p:cNvPr>
          <p:cNvSpPr>
            <a:spLocks noGrp="1"/>
          </p:cNvSpPr>
          <p:nvPr>
            <p:ph type="ftr" sz="quarter" idx="11"/>
          </p:nvPr>
        </p:nvSpPr>
        <p:spPr/>
        <p:txBody>
          <a:bodyPr/>
          <a:lstStyle/>
          <a:p>
            <a:r>
              <a:rPr lang="en-US"/>
              <a:t>APMWG</a:t>
            </a:r>
          </a:p>
        </p:txBody>
      </p:sp>
      <p:sp>
        <p:nvSpPr>
          <p:cNvPr id="7" name="Slide Number Placeholder 6">
            <a:extLst>
              <a:ext uri="{FF2B5EF4-FFF2-40B4-BE49-F238E27FC236}">
                <a16:creationId xmlns:a16="http://schemas.microsoft.com/office/drawing/2014/main" id="{ECC19CC5-1292-4F3E-AC14-45654E86320F}"/>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8" name="Content Placeholder 3">
            <a:extLst>
              <a:ext uri="{FF2B5EF4-FFF2-40B4-BE49-F238E27FC236}">
                <a16:creationId xmlns:a16="http://schemas.microsoft.com/office/drawing/2014/main" id="{CC9A967D-8A0B-4436-A012-333049F84F2E}"/>
              </a:ext>
            </a:extLst>
          </p:cNvPr>
          <p:cNvSpPr>
            <a:spLocks noGrp="1"/>
          </p:cNvSpPr>
          <p:nvPr>
            <p:ph sz="half" idx="13"/>
          </p:nvPr>
        </p:nvSpPr>
        <p:spPr>
          <a:xfrm>
            <a:off x="8427720" y="1485900"/>
            <a:ext cx="3383280" cy="426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53332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BLUE_TextSlide_Photo+1-colum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37838-0F4C-4B60-9EA9-A72EA5539849}"/>
              </a:ext>
            </a:extLst>
          </p:cNvPr>
          <p:cNvSpPr>
            <a:spLocks noGrp="1"/>
          </p:cNvSpPr>
          <p:nvPr>
            <p:ph type="title"/>
          </p:nvPr>
        </p:nvSpPr>
        <p:spPr>
          <a:xfrm>
            <a:off x="381000" y="365125"/>
            <a:ext cx="5524500" cy="60939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CB9B81-F331-4A9C-BE92-11CAB2A6B4B3}"/>
              </a:ext>
            </a:extLst>
          </p:cNvPr>
          <p:cNvSpPr>
            <a:spLocks noGrp="1"/>
          </p:cNvSpPr>
          <p:nvPr>
            <p:ph sz="half" idx="1"/>
          </p:nvPr>
        </p:nvSpPr>
        <p:spPr>
          <a:xfrm>
            <a:off x="381676" y="1897026"/>
            <a:ext cx="5523824" cy="38560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5227B3-9D23-4B0B-B20D-E90AB0E09E52}"/>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3AF83FD3-9274-482A-8C94-F5BC022606D3}"/>
              </a:ext>
            </a:extLst>
          </p:cNvPr>
          <p:cNvSpPr>
            <a:spLocks noGrp="1"/>
          </p:cNvSpPr>
          <p:nvPr>
            <p:ph type="ftr" sz="quarter" idx="11"/>
          </p:nvPr>
        </p:nvSpPr>
        <p:spPr/>
        <p:txBody>
          <a:bodyPr/>
          <a:lstStyle/>
          <a:p>
            <a:r>
              <a:rPr lang="en-US"/>
              <a:t>APMWG</a:t>
            </a:r>
          </a:p>
        </p:txBody>
      </p:sp>
      <p:sp>
        <p:nvSpPr>
          <p:cNvPr id="7" name="Slide Number Placeholder 6">
            <a:extLst>
              <a:ext uri="{FF2B5EF4-FFF2-40B4-BE49-F238E27FC236}">
                <a16:creationId xmlns:a16="http://schemas.microsoft.com/office/drawing/2014/main" id="{ECC19CC5-1292-4F3E-AC14-45654E86320F}"/>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8" name="Picture Placeholder 12">
            <a:extLst>
              <a:ext uri="{FF2B5EF4-FFF2-40B4-BE49-F238E27FC236}">
                <a16:creationId xmlns:a16="http://schemas.microsoft.com/office/drawing/2014/main" id="{2BD715A7-CDAB-4300-87D7-26DDB8999B03}"/>
              </a:ext>
            </a:extLst>
          </p:cNvPr>
          <p:cNvSpPr>
            <a:spLocks noGrp="1"/>
          </p:cNvSpPr>
          <p:nvPr>
            <p:ph type="pic" sz="quarter" idx="16"/>
          </p:nvPr>
        </p:nvSpPr>
        <p:spPr>
          <a:xfrm>
            <a:off x="6096000" y="-1"/>
            <a:ext cx="6096001" cy="6111545"/>
          </a:xfrm>
          <a:custGeom>
            <a:avLst/>
            <a:gdLst>
              <a:gd name="connsiteX0" fmla="*/ 3528701 w 6048375"/>
              <a:gd name="connsiteY0" fmla="*/ 0 h 6063798"/>
              <a:gd name="connsiteX1" fmla="*/ 6048375 w 6048375"/>
              <a:gd name="connsiteY1" fmla="*/ 0 h 6063798"/>
              <a:gd name="connsiteX2" fmla="*/ 6048375 w 6048375"/>
              <a:gd name="connsiteY2" fmla="*/ 2544973 h 6063798"/>
              <a:gd name="connsiteX3" fmla="*/ 2532774 w 6048375"/>
              <a:gd name="connsiteY3" fmla="*/ 6063798 h 6063798"/>
              <a:gd name="connsiteX4" fmla="*/ 1267548 w 6048375"/>
              <a:gd name="connsiteY4" fmla="*/ 4798572 h 6063798"/>
              <a:gd name="connsiteX5" fmla="*/ 0 w 6048375"/>
              <a:gd name="connsiteY5" fmla="*/ 3528703 h 606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8375" h="6063798">
                <a:moveTo>
                  <a:pt x="3528701" y="0"/>
                </a:moveTo>
                <a:lnTo>
                  <a:pt x="6048375" y="0"/>
                </a:lnTo>
                <a:lnTo>
                  <a:pt x="6048375" y="2544973"/>
                </a:lnTo>
                <a:lnTo>
                  <a:pt x="2532774" y="6063798"/>
                </a:lnTo>
                <a:lnTo>
                  <a:pt x="1267548" y="4798572"/>
                </a:lnTo>
                <a:lnTo>
                  <a:pt x="0" y="3528703"/>
                </a:lnTo>
                <a:close/>
              </a:path>
            </a:pathLst>
          </a:custGeom>
          <a:solidFill>
            <a:schemeClr val="bg2">
              <a:lumMod val="90000"/>
            </a:schemeClr>
          </a:solidFill>
        </p:spPr>
        <p:txBody>
          <a:bodyPr wrap="square" anchor="ctr" anchorCtr="0">
            <a:noAutofit/>
          </a:bodyPr>
          <a:lstStyle>
            <a:lvl1pPr algn="ctr">
              <a:defRPr sz="2000">
                <a:solidFill>
                  <a:schemeClr val="tx1"/>
                </a:solidFill>
                <a:latin typeface="+mn-lt"/>
              </a:defRPr>
            </a:lvl1pPr>
          </a:lstStyle>
          <a:p>
            <a:r>
              <a:rPr lang="en-US"/>
              <a:t>Click icon to add picture</a:t>
            </a:r>
            <a:endParaRPr lang="en-GB"/>
          </a:p>
        </p:txBody>
      </p:sp>
    </p:spTree>
    <p:extLst>
      <p:ext uri="{BB962C8B-B14F-4D97-AF65-F5344CB8AC3E}">
        <p14:creationId xmlns:p14="http://schemas.microsoft.com/office/powerpoint/2010/main" val="315113396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BLUE_TextSlide_BigNumb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37838-0F4C-4B60-9EA9-A72EA5539849}"/>
              </a:ext>
            </a:extLst>
          </p:cNvPr>
          <p:cNvSpPr>
            <a:spLocks noGrp="1"/>
          </p:cNvSpPr>
          <p:nvPr>
            <p:ph type="title" hasCustomPrompt="1"/>
          </p:nvPr>
        </p:nvSpPr>
        <p:spPr>
          <a:xfrm>
            <a:off x="381000" y="1485900"/>
            <a:ext cx="5524500" cy="1943100"/>
          </a:xfrm>
        </p:spPr>
        <p:txBody>
          <a:bodyPr/>
          <a:lstStyle>
            <a:lvl1pPr>
              <a:defRPr sz="16600"/>
            </a:lvl1pPr>
          </a:lstStyle>
          <a:p>
            <a:r>
              <a:rPr lang="en-US"/>
              <a:t>XX%</a:t>
            </a:r>
          </a:p>
        </p:txBody>
      </p:sp>
      <p:sp>
        <p:nvSpPr>
          <p:cNvPr id="3" name="Content Placeholder 2">
            <a:extLst>
              <a:ext uri="{FF2B5EF4-FFF2-40B4-BE49-F238E27FC236}">
                <a16:creationId xmlns:a16="http://schemas.microsoft.com/office/drawing/2014/main" id="{D4CB9B81-F331-4A9C-BE92-11CAB2A6B4B3}"/>
              </a:ext>
            </a:extLst>
          </p:cNvPr>
          <p:cNvSpPr>
            <a:spLocks noGrp="1"/>
          </p:cNvSpPr>
          <p:nvPr>
            <p:ph sz="half" idx="1"/>
          </p:nvPr>
        </p:nvSpPr>
        <p:spPr>
          <a:xfrm>
            <a:off x="381676" y="3568439"/>
            <a:ext cx="5523824" cy="2184661"/>
          </a:xfrm>
        </p:spPr>
        <p:txBody>
          <a:bodyPr/>
          <a:lstStyle>
            <a:lvl1pPr>
              <a:lnSpc>
                <a:spcPct val="100000"/>
              </a:lnSpc>
              <a:spcBef>
                <a:spcPts val="0"/>
              </a:spcBef>
              <a:spcAft>
                <a:spcPts val="1400"/>
              </a:spcAft>
              <a:defRPr sz="3000">
                <a:solidFill>
                  <a:schemeClr val="bg1"/>
                </a:solidFill>
                <a:latin typeface="+mj-lt"/>
              </a:defRPr>
            </a:lvl1pPr>
          </a:lstStyle>
          <a:p>
            <a:pPr lvl="0"/>
            <a:r>
              <a:rPr lang="en-US"/>
              <a:t>Edit Master text styles</a:t>
            </a:r>
          </a:p>
        </p:txBody>
      </p:sp>
      <p:sp>
        <p:nvSpPr>
          <p:cNvPr id="5" name="Date Placeholder 4">
            <a:extLst>
              <a:ext uri="{FF2B5EF4-FFF2-40B4-BE49-F238E27FC236}">
                <a16:creationId xmlns:a16="http://schemas.microsoft.com/office/drawing/2014/main" id="{AA5227B3-9D23-4B0B-B20D-E90AB0E09E52}"/>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3AF83FD3-9274-482A-8C94-F5BC022606D3}"/>
              </a:ext>
            </a:extLst>
          </p:cNvPr>
          <p:cNvSpPr>
            <a:spLocks noGrp="1"/>
          </p:cNvSpPr>
          <p:nvPr>
            <p:ph type="ftr" sz="quarter" idx="11"/>
          </p:nvPr>
        </p:nvSpPr>
        <p:spPr/>
        <p:txBody>
          <a:bodyPr/>
          <a:lstStyle/>
          <a:p>
            <a:r>
              <a:rPr lang="en-US"/>
              <a:t>APMWG</a:t>
            </a:r>
          </a:p>
        </p:txBody>
      </p:sp>
      <p:sp>
        <p:nvSpPr>
          <p:cNvPr id="7" name="Slide Number Placeholder 6">
            <a:extLst>
              <a:ext uri="{FF2B5EF4-FFF2-40B4-BE49-F238E27FC236}">
                <a16:creationId xmlns:a16="http://schemas.microsoft.com/office/drawing/2014/main" id="{ECC19CC5-1292-4F3E-AC14-45654E86320F}"/>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8" name="Picture Placeholder 12">
            <a:extLst>
              <a:ext uri="{FF2B5EF4-FFF2-40B4-BE49-F238E27FC236}">
                <a16:creationId xmlns:a16="http://schemas.microsoft.com/office/drawing/2014/main" id="{2BD715A7-CDAB-4300-87D7-26DDB8999B03}"/>
              </a:ext>
            </a:extLst>
          </p:cNvPr>
          <p:cNvSpPr>
            <a:spLocks noGrp="1"/>
          </p:cNvSpPr>
          <p:nvPr>
            <p:ph type="pic" sz="quarter" idx="16"/>
          </p:nvPr>
        </p:nvSpPr>
        <p:spPr>
          <a:xfrm>
            <a:off x="6096000" y="-1"/>
            <a:ext cx="6096001" cy="6111545"/>
          </a:xfrm>
          <a:custGeom>
            <a:avLst/>
            <a:gdLst>
              <a:gd name="connsiteX0" fmla="*/ 3528701 w 6048375"/>
              <a:gd name="connsiteY0" fmla="*/ 0 h 6063798"/>
              <a:gd name="connsiteX1" fmla="*/ 6048375 w 6048375"/>
              <a:gd name="connsiteY1" fmla="*/ 0 h 6063798"/>
              <a:gd name="connsiteX2" fmla="*/ 6048375 w 6048375"/>
              <a:gd name="connsiteY2" fmla="*/ 2544973 h 6063798"/>
              <a:gd name="connsiteX3" fmla="*/ 2532774 w 6048375"/>
              <a:gd name="connsiteY3" fmla="*/ 6063798 h 6063798"/>
              <a:gd name="connsiteX4" fmla="*/ 1267548 w 6048375"/>
              <a:gd name="connsiteY4" fmla="*/ 4798572 h 6063798"/>
              <a:gd name="connsiteX5" fmla="*/ 0 w 6048375"/>
              <a:gd name="connsiteY5" fmla="*/ 3528703 h 606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8375" h="6063798">
                <a:moveTo>
                  <a:pt x="3528701" y="0"/>
                </a:moveTo>
                <a:lnTo>
                  <a:pt x="6048375" y="0"/>
                </a:lnTo>
                <a:lnTo>
                  <a:pt x="6048375" y="2544973"/>
                </a:lnTo>
                <a:lnTo>
                  <a:pt x="2532774" y="6063798"/>
                </a:lnTo>
                <a:lnTo>
                  <a:pt x="1267548" y="4798572"/>
                </a:lnTo>
                <a:lnTo>
                  <a:pt x="0" y="3528703"/>
                </a:lnTo>
                <a:close/>
              </a:path>
            </a:pathLst>
          </a:custGeom>
          <a:solidFill>
            <a:schemeClr val="bg2">
              <a:lumMod val="90000"/>
            </a:schemeClr>
          </a:solidFill>
        </p:spPr>
        <p:txBody>
          <a:bodyPr wrap="square" anchor="ctr" anchorCtr="0">
            <a:noAutofit/>
          </a:bodyPr>
          <a:lstStyle>
            <a:lvl1pPr algn="ctr">
              <a:defRPr sz="2000">
                <a:solidFill>
                  <a:schemeClr val="tx1"/>
                </a:solidFill>
                <a:latin typeface="+mn-lt"/>
              </a:defRPr>
            </a:lvl1pPr>
          </a:lstStyle>
          <a:p>
            <a:r>
              <a:rPr lang="en-US"/>
              <a:t>Click icon to add picture</a:t>
            </a:r>
            <a:endParaRPr lang="en-GB"/>
          </a:p>
        </p:txBody>
      </p:sp>
    </p:spTree>
    <p:extLst>
      <p:ext uri="{BB962C8B-B14F-4D97-AF65-F5344CB8AC3E}">
        <p14:creationId xmlns:p14="http://schemas.microsoft.com/office/powerpoint/2010/main" val="35603519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BLUE_Photo+BigQuote-1">
    <p:bg>
      <p:bgPr>
        <a:solidFill>
          <a:schemeClr val="accent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10" name="Picture Placeholder 9">
            <a:extLst>
              <a:ext uri="{FF2B5EF4-FFF2-40B4-BE49-F238E27FC236}">
                <a16:creationId xmlns:a16="http://schemas.microsoft.com/office/drawing/2014/main" id="{2869E21B-A703-4EDF-B4FA-B5E512E46398}"/>
              </a:ext>
            </a:extLst>
          </p:cNvPr>
          <p:cNvSpPr>
            <a:spLocks noGrp="1"/>
          </p:cNvSpPr>
          <p:nvPr>
            <p:ph type="pic" sz="quarter" idx="13"/>
          </p:nvPr>
        </p:nvSpPr>
        <p:spPr>
          <a:xfrm>
            <a:off x="0" y="0"/>
            <a:ext cx="12192000" cy="3429000"/>
          </a:xfrm>
          <a:solidFill>
            <a:schemeClr val="bg2">
              <a:lumMod val="90000"/>
            </a:schemeClr>
          </a:solidFill>
        </p:spPr>
        <p:txBody>
          <a:bodyPr anchor="ctr" anchorCtr="0"/>
          <a:lstStyle>
            <a:lvl1pPr algn="ctr">
              <a:defRPr/>
            </a:lvl1pPr>
          </a:lstStyle>
          <a:p>
            <a:endParaRPr lang="en-US"/>
          </a:p>
        </p:txBody>
      </p:sp>
      <p:sp>
        <p:nvSpPr>
          <p:cNvPr id="11" name="Text Placeholder 3">
            <a:extLst>
              <a:ext uri="{FF2B5EF4-FFF2-40B4-BE49-F238E27FC236}">
                <a16:creationId xmlns:a16="http://schemas.microsoft.com/office/drawing/2014/main" id="{49B35DB1-D7AC-4FA8-B932-26B3A103D000}"/>
              </a:ext>
            </a:extLst>
          </p:cNvPr>
          <p:cNvSpPr>
            <a:spLocks noGrp="1"/>
          </p:cNvSpPr>
          <p:nvPr>
            <p:ph type="body" sz="half" idx="2" hasCustomPrompt="1"/>
          </p:nvPr>
        </p:nvSpPr>
        <p:spPr>
          <a:xfrm>
            <a:off x="381000" y="3799539"/>
            <a:ext cx="11430000" cy="1768289"/>
          </a:xfrm>
        </p:spPr>
        <p:txBody>
          <a:bodyPr/>
          <a:lstStyle>
            <a:lvl1pPr marL="0" indent="0">
              <a:lnSpc>
                <a:spcPct val="90000"/>
              </a:lnSpc>
              <a:spcBef>
                <a:spcPts val="0"/>
              </a:spcBef>
              <a:buNone/>
              <a:defRPr sz="54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big quote style</a:t>
            </a:r>
          </a:p>
        </p:txBody>
      </p:sp>
    </p:spTree>
    <p:extLst>
      <p:ext uri="{BB962C8B-B14F-4D97-AF65-F5344CB8AC3E}">
        <p14:creationId xmlns:p14="http://schemas.microsoft.com/office/powerpoint/2010/main" val="38851372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_TextSlide_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821CC-265E-473E-BD96-BC93B6A49D4D}"/>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4C4D5EE-B9EC-4B8B-B697-CD3B955461AE}"/>
              </a:ext>
            </a:extLst>
          </p:cNvPr>
          <p:cNvSpPr>
            <a:spLocks noGrp="1"/>
          </p:cNvSpPr>
          <p:nvPr>
            <p:ph idx="1" hasCustomPrompt="1"/>
          </p:nvPr>
        </p:nvSpPr>
        <p:spPr/>
        <p:txBody>
          <a:bodyPr/>
          <a:lstStyle>
            <a:lvl1pPr>
              <a:defRPr/>
            </a:lvl1pPr>
            <a:lvl2pPr>
              <a:defRPr/>
            </a:lvl2pPr>
            <a:lvl3pPr>
              <a:defRPr/>
            </a:lvl3pPr>
            <a:lvl4pPr>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lvl1pPr>
              <a:defRPr>
                <a:solidFill>
                  <a:schemeClr val="accent1"/>
                </a:solidFill>
              </a:defRPr>
            </a:lvl1p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lvl1pPr>
              <a:defRPr>
                <a:solidFill>
                  <a:schemeClr val="accent1"/>
                </a:solidFill>
              </a:defRPr>
            </a:lvl1p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N°›</a:t>
            </a:fld>
            <a:endParaRPr lang="en-US"/>
          </a:p>
        </p:txBody>
      </p:sp>
      <p:sp>
        <p:nvSpPr>
          <p:cNvPr id="7" name="Freeform 5">
            <a:extLst>
              <a:ext uri="{FF2B5EF4-FFF2-40B4-BE49-F238E27FC236}">
                <a16:creationId xmlns:a16="http://schemas.microsoft.com/office/drawing/2014/main" id="{0D518933-C06B-479E-8487-1189C2548F67}"/>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2000470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BLUE_Photo+BigQuote-2">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E1ED2F-ACED-4772-881E-91B4CA40AB36}"/>
              </a:ext>
            </a:extLst>
          </p:cNvPr>
          <p:cNvSpPr>
            <a:spLocks noGrp="1"/>
          </p:cNvSpPr>
          <p:nvPr>
            <p:ph type="pic" sz="quarter" idx="13"/>
          </p:nvPr>
        </p:nvSpPr>
        <p:spPr>
          <a:xfrm>
            <a:off x="5905500" y="0"/>
            <a:ext cx="6286500" cy="6858000"/>
          </a:xfrm>
          <a:solidFill>
            <a:schemeClr val="bg2">
              <a:lumMod val="90000"/>
            </a:schemeClr>
          </a:solidFill>
        </p:spPr>
        <p:txBody>
          <a:bodyPr anchor="ctr" anchorCtr="0"/>
          <a:lstStyle>
            <a:lvl1pPr algn="ctr">
              <a:defRPr/>
            </a:lvl1pPr>
          </a:lstStyle>
          <a:p>
            <a:endParaRPr lang="en-US"/>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7" name="Title 1">
            <a:extLst>
              <a:ext uri="{FF2B5EF4-FFF2-40B4-BE49-F238E27FC236}">
                <a16:creationId xmlns:a16="http://schemas.microsoft.com/office/drawing/2014/main" id="{587FC103-9DE1-4F89-B054-F6510798AE30}"/>
              </a:ext>
            </a:extLst>
          </p:cNvPr>
          <p:cNvSpPr>
            <a:spLocks noGrp="1"/>
          </p:cNvSpPr>
          <p:nvPr>
            <p:ph type="title" hasCustomPrompt="1"/>
          </p:nvPr>
        </p:nvSpPr>
        <p:spPr>
          <a:xfrm>
            <a:off x="381000" y="381000"/>
            <a:ext cx="4736592" cy="5372100"/>
          </a:xfrm>
        </p:spPr>
        <p:txBody>
          <a:bodyPr anchor="t" anchorCtr="0"/>
          <a:lstStyle>
            <a:lvl1pPr>
              <a:defRPr sz="5400">
                <a:solidFill>
                  <a:schemeClr val="bg1"/>
                </a:solidFill>
              </a:defRPr>
            </a:lvl1pPr>
          </a:lstStyle>
          <a:p>
            <a:r>
              <a:rPr lang="en-US"/>
              <a:t>Click to edit big quote style</a:t>
            </a:r>
          </a:p>
        </p:txBody>
      </p:sp>
      <p:sp>
        <p:nvSpPr>
          <p:cNvPr id="12" name="Freeform 5">
            <a:extLst>
              <a:ext uri="{FF2B5EF4-FFF2-40B4-BE49-F238E27FC236}">
                <a16:creationId xmlns:a16="http://schemas.microsoft.com/office/drawing/2014/main" id="{A6375DDD-61B4-4459-A66A-CEC3372C4CF5}"/>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2466663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UE_Photo+BigQuote-3">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E1ED2F-ACED-4772-881E-91B4CA40AB36}"/>
              </a:ext>
            </a:extLst>
          </p:cNvPr>
          <p:cNvSpPr>
            <a:spLocks noGrp="1"/>
          </p:cNvSpPr>
          <p:nvPr>
            <p:ph type="pic" sz="quarter" idx="13"/>
          </p:nvPr>
        </p:nvSpPr>
        <p:spPr>
          <a:xfrm>
            <a:off x="0" y="0"/>
            <a:ext cx="5905500" cy="6858000"/>
          </a:xfrm>
          <a:solidFill>
            <a:schemeClr val="bg2">
              <a:lumMod val="90000"/>
            </a:schemeClr>
          </a:solidFill>
        </p:spPr>
        <p:txBody>
          <a:bodyPr anchor="ctr" anchorCtr="0"/>
          <a:lstStyle>
            <a:lvl1pPr algn="ctr">
              <a:defRPr/>
            </a:lvl1pPr>
          </a:lstStyle>
          <a:p>
            <a:endParaRPr lang="en-US"/>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7" name="Title 1">
            <a:extLst>
              <a:ext uri="{FF2B5EF4-FFF2-40B4-BE49-F238E27FC236}">
                <a16:creationId xmlns:a16="http://schemas.microsoft.com/office/drawing/2014/main" id="{587FC103-9DE1-4F89-B054-F6510798AE30}"/>
              </a:ext>
            </a:extLst>
          </p:cNvPr>
          <p:cNvSpPr>
            <a:spLocks noGrp="1"/>
          </p:cNvSpPr>
          <p:nvPr>
            <p:ph type="title" hasCustomPrompt="1"/>
          </p:nvPr>
        </p:nvSpPr>
        <p:spPr>
          <a:xfrm>
            <a:off x="6286500" y="381000"/>
            <a:ext cx="5524500" cy="5372100"/>
          </a:xfrm>
        </p:spPr>
        <p:txBody>
          <a:bodyPr anchor="t" anchorCtr="0"/>
          <a:lstStyle>
            <a:lvl1pPr>
              <a:defRPr sz="5400">
                <a:solidFill>
                  <a:schemeClr val="bg1"/>
                </a:solidFill>
              </a:defRPr>
            </a:lvl1pPr>
          </a:lstStyle>
          <a:p>
            <a:r>
              <a:rPr lang="en-US"/>
              <a:t>Click to edit big quote style</a:t>
            </a:r>
          </a:p>
        </p:txBody>
      </p:sp>
    </p:spTree>
    <p:extLst>
      <p:ext uri="{BB962C8B-B14F-4D97-AF65-F5344CB8AC3E}">
        <p14:creationId xmlns:p14="http://schemas.microsoft.com/office/powerpoint/2010/main" val="399063492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8_BLUE_Photo+BigQuote-4">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C0F007C-1698-4431-8841-091B8233CECE}"/>
              </a:ext>
            </a:extLst>
          </p:cNvPr>
          <p:cNvSpPr>
            <a:spLocks noGrp="1"/>
          </p:cNvSpPr>
          <p:nvPr>
            <p:ph type="pic" sz="quarter" idx="13"/>
          </p:nvPr>
        </p:nvSpPr>
        <p:spPr>
          <a:xfrm>
            <a:off x="0" y="0"/>
            <a:ext cx="12192000" cy="6858000"/>
          </a:xfrm>
          <a:solidFill>
            <a:schemeClr val="bg2">
              <a:lumMod val="90000"/>
            </a:schemeClr>
          </a:solidFill>
        </p:spPr>
        <p:txBody>
          <a:bodyPr anchor="ctr" anchorCtr="0"/>
          <a:lstStyle>
            <a:lvl1pPr algn="ctr">
              <a:defRPr/>
            </a:lvl1pPr>
          </a:lstStyle>
          <a:p>
            <a:endParaRPr lang="en-US"/>
          </a:p>
        </p:txBody>
      </p:sp>
      <p:sp>
        <p:nvSpPr>
          <p:cNvPr id="2" name="Title 1">
            <a:extLst>
              <a:ext uri="{FF2B5EF4-FFF2-40B4-BE49-F238E27FC236}">
                <a16:creationId xmlns:a16="http://schemas.microsoft.com/office/drawing/2014/main" id="{B44D976F-6FAA-4B37-814C-E2540D4155CD}"/>
              </a:ext>
            </a:extLst>
          </p:cNvPr>
          <p:cNvSpPr>
            <a:spLocks noGrp="1"/>
          </p:cNvSpPr>
          <p:nvPr>
            <p:ph type="title" hasCustomPrompt="1"/>
          </p:nvPr>
        </p:nvSpPr>
        <p:spPr/>
        <p:txBody>
          <a:bodyPr/>
          <a:lstStyle>
            <a:lvl1pPr>
              <a:defRPr sz="5400"/>
            </a:lvl1pPr>
          </a:lstStyle>
          <a:p>
            <a:r>
              <a:rPr lang="en-US"/>
              <a:t>Click to edit big quote style</a:t>
            </a:r>
          </a:p>
        </p:txBody>
      </p:sp>
      <p:sp>
        <p:nvSpPr>
          <p:cNvPr id="3" name="Date Placeholder 2">
            <a:extLst>
              <a:ext uri="{FF2B5EF4-FFF2-40B4-BE49-F238E27FC236}">
                <a16:creationId xmlns:a16="http://schemas.microsoft.com/office/drawing/2014/main" id="{0F0BFC25-F2D8-40D7-96BA-C0F78F6A687A}"/>
              </a:ext>
            </a:extLst>
          </p:cNvPr>
          <p:cNvSpPr>
            <a:spLocks noGrp="1"/>
          </p:cNvSpPr>
          <p:nvPr>
            <p:ph type="dt" sz="half" idx="10"/>
          </p:nvPr>
        </p:nvSpPr>
        <p:spPr/>
        <p:txBody>
          <a:bodyPr/>
          <a:lstStyle/>
          <a:p>
            <a:r>
              <a:rPr lang="de-DE"/>
              <a:t>02 November 2025</a:t>
            </a:r>
            <a:endParaRPr lang="en-US"/>
          </a:p>
        </p:txBody>
      </p:sp>
      <p:sp>
        <p:nvSpPr>
          <p:cNvPr id="4" name="Footer Placeholder 3">
            <a:extLst>
              <a:ext uri="{FF2B5EF4-FFF2-40B4-BE49-F238E27FC236}">
                <a16:creationId xmlns:a16="http://schemas.microsoft.com/office/drawing/2014/main" id="{D0EEA34B-ADB0-4A9B-A944-DB4F9AB7A20C}"/>
              </a:ext>
            </a:extLst>
          </p:cNvPr>
          <p:cNvSpPr>
            <a:spLocks noGrp="1"/>
          </p:cNvSpPr>
          <p:nvPr>
            <p:ph type="ftr" sz="quarter" idx="11"/>
          </p:nvPr>
        </p:nvSpPr>
        <p:spPr/>
        <p:txBody>
          <a:bodyPr/>
          <a:lstStyle/>
          <a:p>
            <a:r>
              <a:rPr lang="en-US"/>
              <a:t>APMWG</a:t>
            </a:r>
          </a:p>
        </p:txBody>
      </p:sp>
      <p:sp>
        <p:nvSpPr>
          <p:cNvPr id="5" name="Slide Number Placeholder 4">
            <a:extLst>
              <a:ext uri="{FF2B5EF4-FFF2-40B4-BE49-F238E27FC236}">
                <a16:creationId xmlns:a16="http://schemas.microsoft.com/office/drawing/2014/main" id="{E72EE72B-8C4F-4C4B-8E3A-D7A4D706EB14}"/>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8" name="Freeform 5">
            <a:extLst>
              <a:ext uri="{FF2B5EF4-FFF2-40B4-BE49-F238E27FC236}">
                <a16:creationId xmlns:a16="http://schemas.microsoft.com/office/drawing/2014/main" id="{4C9045F0-71F1-4313-AC39-D7B161B9F713}"/>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tx1"/>
              </a:solidFill>
            </a:endParaRPr>
          </a:p>
        </p:txBody>
      </p:sp>
    </p:spTree>
    <p:extLst>
      <p:ext uri="{BB962C8B-B14F-4D97-AF65-F5344CB8AC3E}">
        <p14:creationId xmlns:p14="http://schemas.microsoft.com/office/powerpoint/2010/main" val="21420141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BLUE_Photo+BigQuote+Text-1">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E1ED2F-ACED-4772-881E-91B4CA40AB36}"/>
              </a:ext>
            </a:extLst>
          </p:cNvPr>
          <p:cNvSpPr>
            <a:spLocks noGrp="1"/>
          </p:cNvSpPr>
          <p:nvPr>
            <p:ph type="pic" sz="quarter" idx="13"/>
          </p:nvPr>
        </p:nvSpPr>
        <p:spPr>
          <a:xfrm>
            <a:off x="5905500" y="0"/>
            <a:ext cx="6286500" cy="6858000"/>
          </a:xfrm>
          <a:solidFill>
            <a:schemeClr val="bg2">
              <a:lumMod val="90000"/>
            </a:schemeClr>
          </a:solidFill>
        </p:spPr>
        <p:txBody>
          <a:bodyPr anchor="ctr" anchorCtr="0"/>
          <a:lstStyle>
            <a:lvl1pPr algn="ctr">
              <a:defRPr/>
            </a:lvl1pPr>
          </a:lstStyle>
          <a:p>
            <a:endParaRPr lang="en-US"/>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7" name="Title 1">
            <a:extLst>
              <a:ext uri="{FF2B5EF4-FFF2-40B4-BE49-F238E27FC236}">
                <a16:creationId xmlns:a16="http://schemas.microsoft.com/office/drawing/2014/main" id="{587FC103-9DE1-4F89-B054-F6510798AE30}"/>
              </a:ext>
            </a:extLst>
          </p:cNvPr>
          <p:cNvSpPr>
            <a:spLocks noGrp="1"/>
          </p:cNvSpPr>
          <p:nvPr>
            <p:ph type="title" hasCustomPrompt="1"/>
          </p:nvPr>
        </p:nvSpPr>
        <p:spPr>
          <a:xfrm>
            <a:off x="381000" y="381000"/>
            <a:ext cx="4736592" cy="2368296"/>
          </a:xfrm>
        </p:spPr>
        <p:txBody>
          <a:bodyPr anchor="t" anchorCtr="0"/>
          <a:lstStyle>
            <a:lvl1pPr>
              <a:defRPr sz="5400">
                <a:solidFill>
                  <a:schemeClr val="bg1"/>
                </a:solidFill>
              </a:defRPr>
            </a:lvl1pPr>
          </a:lstStyle>
          <a:p>
            <a:r>
              <a:rPr lang="en-US"/>
              <a:t>Click to edit big quote style</a:t>
            </a:r>
          </a:p>
        </p:txBody>
      </p:sp>
      <p:sp>
        <p:nvSpPr>
          <p:cNvPr id="12" name="Freeform 5">
            <a:extLst>
              <a:ext uri="{FF2B5EF4-FFF2-40B4-BE49-F238E27FC236}">
                <a16:creationId xmlns:a16="http://schemas.microsoft.com/office/drawing/2014/main" id="{A6375DDD-61B4-4459-A66A-CEC3372C4CF5}"/>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Content Placeholder 2">
            <a:extLst>
              <a:ext uri="{FF2B5EF4-FFF2-40B4-BE49-F238E27FC236}">
                <a16:creationId xmlns:a16="http://schemas.microsoft.com/office/drawing/2014/main" id="{1C648A5F-F7AD-4E59-9E01-41C5C0288057}"/>
              </a:ext>
            </a:extLst>
          </p:cNvPr>
          <p:cNvSpPr>
            <a:spLocks noGrp="1"/>
          </p:cNvSpPr>
          <p:nvPr>
            <p:ph sz="half" idx="1"/>
          </p:nvPr>
        </p:nvSpPr>
        <p:spPr>
          <a:xfrm>
            <a:off x="381676" y="3149600"/>
            <a:ext cx="4735916" cy="2603499"/>
          </a:xfrm>
        </p:spPr>
        <p:txBody>
          <a:bodyPr/>
          <a:lstStyle>
            <a:lvl1pPr>
              <a:defRPr sz="24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84065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BLUE_Photo+BigQuote+Text-2">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E1ED2F-ACED-4772-881E-91B4CA40AB36}"/>
              </a:ext>
            </a:extLst>
          </p:cNvPr>
          <p:cNvSpPr>
            <a:spLocks noGrp="1"/>
          </p:cNvSpPr>
          <p:nvPr>
            <p:ph type="pic" sz="quarter" idx="13"/>
          </p:nvPr>
        </p:nvSpPr>
        <p:spPr>
          <a:xfrm>
            <a:off x="0" y="0"/>
            <a:ext cx="5905500" cy="6858000"/>
          </a:xfrm>
          <a:solidFill>
            <a:schemeClr val="bg2">
              <a:lumMod val="90000"/>
            </a:schemeClr>
          </a:solidFill>
        </p:spPr>
        <p:txBody>
          <a:bodyPr anchor="ctr" anchorCtr="0"/>
          <a:lstStyle>
            <a:lvl1pPr algn="ctr">
              <a:defRPr/>
            </a:lvl1pPr>
          </a:lstStyle>
          <a:p>
            <a:endParaRPr lang="en-US"/>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7" name="Title 1">
            <a:extLst>
              <a:ext uri="{FF2B5EF4-FFF2-40B4-BE49-F238E27FC236}">
                <a16:creationId xmlns:a16="http://schemas.microsoft.com/office/drawing/2014/main" id="{587FC103-9DE1-4F89-B054-F6510798AE30}"/>
              </a:ext>
            </a:extLst>
          </p:cNvPr>
          <p:cNvSpPr>
            <a:spLocks noGrp="1"/>
          </p:cNvSpPr>
          <p:nvPr>
            <p:ph type="title" hasCustomPrompt="1"/>
          </p:nvPr>
        </p:nvSpPr>
        <p:spPr>
          <a:xfrm>
            <a:off x="6286500" y="381000"/>
            <a:ext cx="5524500" cy="2368296"/>
          </a:xfrm>
        </p:spPr>
        <p:txBody>
          <a:bodyPr anchor="t" anchorCtr="0"/>
          <a:lstStyle>
            <a:lvl1pPr>
              <a:defRPr sz="5400">
                <a:solidFill>
                  <a:schemeClr val="bg1"/>
                </a:solidFill>
              </a:defRPr>
            </a:lvl1pPr>
          </a:lstStyle>
          <a:p>
            <a:r>
              <a:rPr lang="en-US"/>
              <a:t>Click to edit big quote style</a:t>
            </a:r>
          </a:p>
        </p:txBody>
      </p:sp>
      <p:sp>
        <p:nvSpPr>
          <p:cNvPr id="9" name="Content Placeholder 2">
            <a:extLst>
              <a:ext uri="{FF2B5EF4-FFF2-40B4-BE49-F238E27FC236}">
                <a16:creationId xmlns:a16="http://schemas.microsoft.com/office/drawing/2014/main" id="{BB3E5537-D394-4E5D-97D9-C23A093E7BFB}"/>
              </a:ext>
            </a:extLst>
          </p:cNvPr>
          <p:cNvSpPr>
            <a:spLocks noGrp="1"/>
          </p:cNvSpPr>
          <p:nvPr>
            <p:ph sz="half" idx="1"/>
          </p:nvPr>
        </p:nvSpPr>
        <p:spPr>
          <a:xfrm>
            <a:off x="6286500" y="3149600"/>
            <a:ext cx="5524500" cy="2603499"/>
          </a:xfrm>
        </p:spPr>
        <p:txBody>
          <a:bodyPr/>
          <a:lstStyle>
            <a:lvl1pPr>
              <a:defRPr sz="24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10675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8_BLUE_TitleOnly">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D976F-6FAA-4B37-814C-E2540D4155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F0BFC25-F2D8-40D7-96BA-C0F78F6A687A}"/>
              </a:ext>
            </a:extLst>
          </p:cNvPr>
          <p:cNvSpPr>
            <a:spLocks noGrp="1"/>
          </p:cNvSpPr>
          <p:nvPr>
            <p:ph type="dt" sz="half" idx="10"/>
          </p:nvPr>
        </p:nvSpPr>
        <p:spPr/>
        <p:txBody>
          <a:bodyPr/>
          <a:lstStyle/>
          <a:p>
            <a:r>
              <a:rPr lang="de-DE"/>
              <a:t>02 November 2025</a:t>
            </a:r>
            <a:endParaRPr lang="en-US"/>
          </a:p>
        </p:txBody>
      </p:sp>
      <p:sp>
        <p:nvSpPr>
          <p:cNvPr id="4" name="Footer Placeholder 3">
            <a:extLst>
              <a:ext uri="{FF2B5EF4-FFF2-40B4-BE49-F238E27FC236}">
                <a16:creationId xmlns:a16="http://schemas.microsoft.com/office/drawing/2014/main" id="{D0EEA34B-ADB0-4A9B-A944-DB4F9AB7A20C}"/>
              </a:ext>
            </a:extLst>
          </p:cNvPr>
          <p:cNvSpPr>
            <a:spLocks noGrp="1"/>
          </p:cNvSpPr>
          <p:nvPr>
            <p:ph type="ftr" sz="quarter" idx="11"/>
          </p:nvPr>
        </p:nvSpPr>
        <p:spPr/>
        <p:txBody>
          <a:bodyPr/>
          <a:lstStyle/>
          <a:p>
            <a:r>
              <a:rPr lang="en-US"/>
              <a:t>APMWG</a:t>
            </a:r>
          </a:p>
        </p:txBody>
      </p:sp>
      <p:sp>
        <p:nvSpPr>
          <p:cNvPr id="5" name="Slide Number Placeholder 4">
            <a:extLst>
              <a:ext uri="{FF2B5EF4-FFF2-40B4-BE49-F238E27FC236}">
                <a16:creationId xmlns:a16="http://schemas.microsoft.com/office/drawing/2014/main" id="{E72EE72B-8C4F-4C4B-8E3A-D7A4D706EB14}"/>
              </a:ext>
            </a:extLst>
          </p:cNvPr>
          <p:cNvSpPr>
            <a:spLocks noGrp="1"/>
          </p:cNvSpPr>
          <p:nvPr>
            <p:ph type="sldNum" sz="quarter" idx="12"/>
          </p:nvPr>
        </p:nvSpPr>
        <p:spPr/>
        <p:txBody>
          <a:bodyPr/>
          <a:lstStyle/>
          <a:p>
            <a:fld id="{1A9E565A-6679-4A67-8FB7-14EA342FD6E1}" type="slidenum">
              <a:rPr lang="en-US" smtClean="0"/>
              <a:t>‹N°›</a:t>
            </a:fld>
            <a:endParaRPr lang="en-US"/>
          </a:p>
        </p:txBody>
      </p:sp>
    </p:spTree>
    <p:extLst>
      <p:ext uri="{BB962C8B-B14F-4D97-AF65-F5344CB8AC3E}">
        <p14:creationId xmlns:p14="http://schemas.microsoft.com/office/powerpoint/2010/main" val="126351616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8_BLUE_Blank">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FE92F6-6D72-419B-9961-3AFFB02BCE22}"/>
              </a:ext>
            </a:extLst>
          </p:cNvPr>
          <p:cNvSpPr>
            <a:spLocks noGrp="1"/>
          </p:cNvSpPr>
          <p:nvPr>
            <p:ph type="dt" sz="half" idx="10"/>
          </p:nvPr>
        </p:nvSpPr>
        <p:spPr>
          <a:xfrm>
            <a:off x="-2354729" y="6162324"/>
            <a:ext cx="1153459" cy="365125"/>
          </a:xfrm>
        </p:spPr>
        <p:txBody>
          <a:bodyPr/>
          <a:lstStyle/>
          <a:p>
            <a:r>
              <a:rPr lang="de-DE"/>
              <a:t>02 November 2025</a:t>
            </a:r>
            <a:endParaRPr lang="en-US"/>
          </a:p>
        </p:txBody>
      </p:sp>
      <p:sp>
        <p:nvSpPr>
          <p:cNvPr id="3" name="Footer Placeholder 2">
            <a:extLst>
              <a:ext uri="{FF2B5EF4-FFF2-40B4-BE49-F238E27FC236}">
                <a16:creationId xmlns:a16="http://schemas.microsoft.com/office/drawing/2014/main" id="{4DBCA9E3-99B9-4EA6-BDD4-BE5AB283FB50}"/>
              </a:ext>
            </a:extLst>
          </p:cNvPr>
          <p:cNvSpPr>
            <a:spLocks noGrp="1"/>
          </p:cNvSpPr>
          <p:nvPr>
            <p:ph type="ftr" sz="quarter" idx="11"/>
          </p:nvPr>
        </p:nvSpPr>
        <p:spPr>
          <a:xfrm>
            <a:off x="-1064677" y="6162324"/>
            <a:ext cx="825618" cy="365125"/>
          </a:xfrm>
        </p:spPr>
        <p:txBody>
          <a:bodyPr/>
          <a:lstStyle/>
          <a:p>
            <a:r>
              <a:rPr lang="en-US"/>
              <a:t>APMWG</a:t>
            </a:r>
          </a:p>
        </p:txBody>
      </p:sp>
      <p:sp>
        <p:nvSpPr>
          <p:cNvPr id="4" name="Slide Number Placeholder 3">
            <a:extLst>
              <a:ext uri="{FF2B5EF4-FFF2-40B4-BE49-F238E27FC236}">
                <a16:creationId xmlns:a16="http://schemas.microsoft.com/office/drawing/2014/main" id="{A73EE6DE-DB4F-403B-BA90-BC5667D0103D}"/>
              </a:ext>
            </a:extLst>
          </p:cNvPr>
          <p:cNvSpPr>
            <a:spLocks noGrp="1"/>
          </p:cNvSpPr>
          <p:nvPr>
            <p:ph type="sldNum" sz="quarter" idx="12"/>
          </p:nvPr>
        </p:nvSpPr>
        <p:spPr/>
        <p:txBody>
          <a:bodyPr/>
          <a:lstStyle/>
          <a:p>
            <a:fld id="{1A9E565A-6679-4A67-8FB7-14EA342FD6E1}" type="slidenum">
              <a:rPr lang="en-US" smtClean="0"/>
              <a:t>‹N°›</a:t>
            </a:fld>
            <a:endParaRPr lang="en-US"/>
          </a:p>
        </p:txBody>
      </p:sp>
    </p:spTree>
    <p:extLst>
      <p:ext uri="{BB962C8B-B14F-4D97-AF65-F5344CB8AC3E}">
        <p14:creationId xmlns:p14="http://schemas.microsoft.com/office/powerpoint/2010/main" val="319279929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BLUE_BigQuot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B767A-0100-4E11-94C6-E29DB60EAB13}"/>
              </a:ext>
            </a:extLst>
          </p:cNvPr>
          <p:cNvSpPr>
            <a:spLocks noGrp="1"/>
          </p:cNvSpPr>
          <p:nvPr>
            <p:ph type="title" hasCustomPrompt="1"/>
          </p:nvPr>
        </p:nvSpPr>
        <p:spPr>
          <a:xfrm>
            <a:off x="381000" y="381000"/>
            <a:ext cx="4736592" cy="5372100"/>
          </a:xfrm>
        </p:spPr>
        <p:txBody>
          <a:bodyPr anchor="t" anchorCtr="0"/>
          <a:lstStyle>
            <a:lvl1pPr>
              <a:defRPr sz="5400">
                <a:solidFill>
                  <a:schemeClr val="bg1"/>
                </a:solidFill>
              </a:defRPr>
            </a:lvl1pPr>
          </a:lstStyle>
          <a:p>
            <a:r>
              <a:rPr lang="en-US"/>
              <a:t>Click to edit big quote style</a:t>
            </a:r>
          </a:p>
        </p:txBody>
      </p:sp>
      <p:sp>
        <p:nvSpPr>
          <p:cNvPr id="5" name="Date Placeholder 4">
            <a:extLst>
              <a:ext uri="{FF2B5EF4-FFF2-40B4-BE49-F238E27FC236}">
                <a16:creationId xmlns:a16="http://schemas.microsoft.com/office/drawing/2014/main" id="{2949A295-A729-4A3F-A328-98B789BCC4EA}"/>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E4B1B8D0-0A04-44D4-83D7-83E48E946550}"/>
              </a:ext>
            </a:extLst>
          </p:cNvPr>
          <p:cNvSpPr>
            <a:spLocks noGrp="1"/>
          </p:cNvSpPr>
          <p:nvPr>
            <p:ph type="ftr" sz="quarter" idx="11"/>
          </p:nvPr>
        </p:nvSpPr>
        <p:spPr/>
        <p:txBody>
          <a:bodyPr/>
          <a:lstStyle/>
          <a:p>
            <a:r>
              <a:rPr lang="en-US"/>
              <a:t>APMWG</a:t>
            </a:r>
          </a:p>
        </p:txBody>
      </p:sp>
      <p:sp>
        <p:nvSpPr>
          <p:cNvPr id="7" name="Slide Number Placeholder 6">
            <a:extLst>
              <a:ext uri="{FF2B5EF4-FFF2-40B4-BE49-F238E27FC236}">
                <a16:creationId xmlns:a16="http://schemas.microsoft.com/office/drawing/2014/main" id="{B47F0A67-BB3A-433B-B6D3-06EE0CD5E03E}"/>
              </a:ext>
            </a:extLst>
          </p:cNvPr>
          <p:cNvSpPr>
            <a:spLocks noGrp="1"/>
          </p:cNvSpPr>
          <p:nvPr>
            <p:ph type="sldNum" sz="quarter" idx="12"/>
          </p:nvPr>
        </p:nvSpPr>
        <p:spPr/>
        <p:txBody>
          <a:bodyPr/>
          <a:lstStyle/>
          <a:p>
            <a:fld id="{1A9E565A-6679-4A67-8FB7-14EA342FD6E1}" type="slidenum">
              <a:rPr lang="en-US" smtClean="0"/>
              <a:t>‹N°›</a:t>
            </a:fld>
            <a:endParaRPr lang="en-US"/>
          </a:p>
        </p:txBody>
      </p:sp>
    </p:spTree>
    <p:extLst>
      <p:ext uri="{BB962C8B-B14F-4D97-AF65-F5344CB8AC3E}">
        <p14:creationId xmlns:p14="http://schemas.microsoft.com/office/powerpoint/2010/main" val="230622714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BLUE_BigQuote+Text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B767A-0100-4E11-94C6-E29DB60EAB13}"/>
              </a:ext>
            </a:extLst>
          </p:cNvPr>
          <p:cNvSpPr>
            <a:spLocks noGrp="1"/>
          </p:cNvSpPr>
          <p:nvPr>
            <p:ph type="title" hasCustomPrompt="1"/>
          </p:nvPr>
        </p:nvSpPr>
        <p:spPr>
          <a:xfrm>
            <a:off x="381000" y="381000"/>
            <a:ext cx="4733260" cy="5372100"/>
          </a:xfrm>
        </p:spPr>
        <p:txBody>
          <a:bodyPr anchor="t" anchorCtr="0"/>
          <a:lstStyle>
            <a:lvl1pPr>
              <a:defRPr sz="5400">
                <a:solidFill>
                  <a:schemeClr val="bg1"/>
                </a:solidFill>
              </a:defRPr>
            </a:lvl1pPr>
          </a:lstStyle>
          <a:p>
            <a:r>
              <a:rPr lang="en-US"/>
              <a:t>Click to edit big quote style</a:t>
            </a:r>
          </a:p>
        </p:txBody>
      </p:sp>
      <p:sp>
        <p:nvSpPr>
          <p:cNvPr id="4" name="Text Placeholder 3">
            <a:extLst>
              <a:ext uri="{FF2B5EF4-FFF2-40B4-BE49-F238E27FC236}">
                <a16:creationId xmlns:a16="http://schemas.microsoft.com/office/drawing/2014/main" id="{0C5CCB49-02C2-43A0-A23F-412EC6F65360}"/>
              </a:ext>
            </a:extLst>
          </p:cNvPr>
          <p:cNvSpPr>
            <a:spLocks noGrp="1"/>
          </p:cNvSpPr>
          <p:nvPr>
            <p:ph type="body" sz="half" idx="2"/>
          </p:nvPr>
        </p:nvSpPr>
        <p:spPr>
          <a:xfrm>
            <a:off x="5905453" y="381000"/>
            <a:ext cx="5905547" cy="612648"/>
          </a:xfrm>
        </p:spPr>
        <p:txBody>
          <a:bodyPr/>
          <a:lstStyle>
            <a:lvl1pPr marL="0" indent="0">
              <a:lnSpc>
                <a:spcPct val="90000"/>
              </a:lnSpc>
              <a:spcBef>
                <a:spcPts val="0"/>
              </a:spcBef>
              <a:buNone/>
              <a:defRPr sz="320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949A295-A729-4A3F-A328-98B789BCC4EA}"/>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E4B1B8D0-0A04-44D4-83D7-83E48E946550}"/>
              </a:ext>
            </a:extLst>
          </p:cNvPr>
          <p:cNvSpPr>
            <a:spLocks noGrp="1"/>
          </p:cNvSpPr>
          <p:nvPr>
            <p:ph type="ftr" sz="quarter" idx="11"/>
          </p:nvPr>
        </p:nvSpPr>
        <p:spPr/>
        <p:txBody>
          <a:bodyPr/>
          <a:lstStyle/>
          <a:p>
            <a:r>
              <a:rPr lang="en-US"/>
              <a:t>APMWG</a:t>
            </a:r>
          </a:p>
        </p:txBody>
      </p:sp>
      <p:sp>
        <p:nvSpPr>
          <p:cNvPr id="7" name="Slide Number Placeholder 6">
            <a:extLst>
              <a:ext uri="{FF2B5EF4-FFF2-40B4-BE49-F238E27FC236}">
                <a16:creationId xmlns:a16="http://schemas.microsoft.com/office/drawing/2014/main" id="{B47F0A67-BB3A-433B-B6D3-06EE0CD5E03E}"/>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8" name="Content Placeholder 2">
            <a:extLst>
              <a:ext uri="{FF2B5EF4-FFF2-40B4-BE49-F238E27FC236}">
                <a16:creationId xmlns:a16="http://schemas.microsoft.com/office/drawing/2014/main" id="{33D29B1E-4BD2-4E78-91D7-0D0DE0F6349A}"/>
              </a:ext>
            </a:extLst>
          </p:cNvPr>
          <p:cNvSpPr>
            <a:spLocks noGrp="1"/>
          </p:cNvSpPr>
          <p:nvPr>
            <p:ph idx="1"/>
          </p:nvPr>
        </p:nvSpPr>
        <p:spPr>
          <a:xfrm>
            <a:off x="5905500" y="993648"/>
            <a:ext cx="5904824" cy="426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82626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BLUE_ThankYou-1">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DBB8F16C-570A-470A-AC41-3DFDC1411C30}"/>
              </a:ext>
            </a:extLst>
          </p:cNvPr>
          <p:cNvSpPr>
            <a:spLocks noGrp="1"/>
          </p:cNvSpPr>
          <p:nvPr>
            <p:ph type="pic" sz="quarter" idx="13"/>
          </p:nvPr>
        </p:nvSpPr>
        <p:spPr>
          <a:xfrm>
            <a:off x="6448425" y="0"/>
            <a:ext cx="5753100" cy="5753100"/>
          </a:xfrm>
          <a:custGeom>
            <a:avLst/>
            <a:gdLst>
              <a:gd name="connsiteX0" fmla="*/ 0 w 5753100"/>
              <a:gd name="connsiteY0" fmla="*/ 0 h 5753100"/>
              <a:gd name="connsiteX1" fmla="*/ 5753100 w 5753100"/>
              <a:gd name="connsiteY1" fmla="*/ 0 h 5753100"/>
              <a:gd name="connsiteX2" fmla="*/ 5753100 w 5753100"/>
              <a:gd name="connsiteY2" fmla="*/ 5753100 h 5753100"/>
              <a:gd name="connsiteX3" fmla="*/ 5742127 w 5753100"/>
              <a:gd name="connsiteY3" fmla="*/ 5753100 h 5753100"/>
              <a:gd name="connsiteX4" fmla="*/ 4388 w 5753100"/>
              <a:gd name="connsiteY4" fmla="*/ 297076 h 5753100"/>
              <a:gd name="connsiteX5" fmla="*/ 0 w 5753100"/>
              <a:gd name="connsiteY5" fmla="*/ 123264 h 575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5753100">
                <a:moveTo>
                  <a:pt x="0" y="0"/>
                </a:moveTo>
                <a:lnTo>
                  <a:pt x="5753100" y="0"/>
                </a:lnTo>
                <a:lnTo>
                  <a:pt x="5753100" y="5753100"/>
                </a:lnTo>
                <a:lnTo>
                  <a:pt x="5742127" y="5753100"/>
                </a:lnTo>
                <a:cubicBezTo>
                  <a:pt x="2667478" y="5753100"/>
                  <a:pt x="158214" y="3337026"/>
                  <a:pt x="4388" y="297076"/>
                </a:cubicBezTo>
                <a:lnTo>
                  <a:pt x="0" y="123264"/>
                </a:lnTo>
                <a:close/>
              </a:path>
            </a:pathLst>
          </a:custGeom>
          <a:solidFill>
            <a:schemeClr val="bg2">
              <a:lumMod val="90000"/>
            </a:schemeClr>
          </a:solidFill>
        </p:spPr>
        <p:txBody>
          <a:bodyPr wrap="square" anchor="ctr" anchorCtr="0">
            <a:noAutofit/>
          </a:bodyPr>
          <a:lstStyle>
            <a:lvl1pPr algn="ctr">
              <a:defRPr/>
            </a:lvl1pPr>
          </a:lstStyle>
          <a:p>
            <a:endParaRPr lang="en-US"/>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7" name="Title 1">
            <a:extLst>
              <a:ext uri="{FF2B5EF4-FFF2-40B4-BE49-F238E27FC236}">
                <a16:creationId xmlns:a16="http://schemas.microsoft.com/office/drawing/2014/main" id="{587FC103-9DE1-4F89-B054-F6510798AE30}"/>
              </a:ext>
            </a:extLst>
          </p:cNvPr>
          <p:cNvSpPr>
            <a:spLocks noGrp="1"/>
          </p:cNvSpPr>
          <p:nvPr>
            <p:ph type="title" hasCustomPrompt="1"/>
          </p:nvPr>
        </p:nvSpPr>
        <p:spPr>
          <a:xfrm>
            <a:off x="381000" y="381000"/>
            <a:ext cx="4736592" cy="3048000"/>
          </a:xfrm>
        </p:spPr>
        <p:txBody>
          <a:bodyPr anchor="t" anchorCtr="0"/>
          <a:lstStyle>
            <a:lvl1pPr>
              <a:defRPr sz="5400">
                <a:solidFill>
                  <a:schemeClr val="bg1"/>
                </a:solidFill>
              </a:defRPr>
            </a:lvl1pPr>
          </a:lstStyle>
          <a:p>
            <a:r>
              <a:rPr lang="en-US"/>
              <a:t>Click to edit thank you style</a:t>
            </a:r>
          </a:p>
        </p:txBody>
      </p:sp>
      <p:sp>
        <p:nvSpPr>
          <p:cNvPr id="8" name="Content Placeholder 2">
            <a:extLst>
              <a:ext uri="{FF2B5EF4-FFF2-40B4-BE49-F238E27FC236}">
                <a16:creationId xmlns:a16="http://schemas.microsoft.com/office/drawing/2014/main" id="{1455B940-1A19-45DC-8F22-530EFA8E4ADA}"/>
              </a:ext>
            </a:extLst>
          </p:cNvPr>
          <p:cNvSpPr>
            <a:spLocks noGrp="1"/>
          </p:cNvSpPr>
          <p:nvPr>
            <p:ph sz="half" idx="1" hasCustomPrompt="1"/>
          </p:nvPr>
        </p:nvSpPr>
        <p:spPr>
          <a:xfrm>
            <a:off x="381000" y="3429000"/>
            <a:ext cx="4061737" cy="2438536"/>
          </a:xfrm>
        </p:spPr>
        <p:txBody>
          <a:bodyPr/>
          <a:lstStyle>
            <a:lvl1pPr>
              <a:defRPr/>
            </a:lvl1pPr>
          </a:lstStyle>
          <a:p>
            <a:pPr lvl="0"/>
            <a:r>
              <a:rPr lang="en-US"/>
              <a:t>Edit contact or  sign off information</a:t>
            </a:r>
          </a:p>
        </p:txBody>
      </p:sp>
    </p:spTree>
    <p:extLst>
      <p:ext uri="{BB962C8B-B14F-4D97-AF65-F5344CB8AC3E}">
        <p14:creationId xmlns:p14="http://schemas.microsoft.com/office/powerpoint/2010/main" val="127751815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WHITE_TextSlide_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37838-0F4C-4B60-9EA9-A72EA5539849}"/>
              </a:ext>
            </a:extLst>
          </p:cNvPr>
          <p:cNvSpPr>
            <a:spLocks noGrp="1"/>
          </p:cNvSpPr>
          <p:nvPr>
            <p:ph type="title"/>
          </p:nvPr>
        </p:nvSpPr>
        <p:spPr>
          <a:xfrm>
            <a:off x="381000" y="365125"/>
            <a:ext cx="11429324" cy="609398"/>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4CB9B81-F331-4A9C-BE92-11CAB2A6B4B3}"/>
              </a:ext>
            </a:extLst>
          </p:cNvPr>
          <p:cNvSpPr>
            <a:spLocks noGrp="1"/>
          </p:cNvSpPr>
          <p:nvPr>
            <p:ph sz="half" idx="1" hasCustomPrompt="1"/>
          </p:nvPr>
        </p:nvSpPr>
        <p:spPr>
          <a:xfrm>
            <a:off x="381676" y="1485900"/>
            <a:ext cx="5523824" cy="4267200"/>
          </a:xfrm>
        </p:spPr>
        <p:txBody>
          <a:bodyPr/>
          <a:lstStyle>
            <a:lvl1pPr>
              <a:defRPr/>
            </a:lvl1pPr>
            <a:lvl2pPr>
              <a:defRPr/>
            </a:lvl2pPr>
            <a:lvl3pPr>
              <a:defRPr/>
            </a:lvl3pPr>
            <a:lvl4pPr>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A6FE12FA-2958-4BD2-846B-0E828DE720BE}"/>
              </a:ext>
            </a:extLst>
          </p:cNvPr>
          <p:cNvSpPr>
            <a:spLocks noGrp="1"/>
          </p:cNvSpPr>
          <p:nvPr>
            <p:ph sz="half" idx="2" hasCustomPrompt="1"/>
          </p:nvPr>
        </p:nvSpPr>
        <p:spPr>
          <a:xfrm>
            <a:off x="6287176" y="1485900"/>
            <a:ext cx="5523824" cy="4267200"/>
          </a:xfrm>
        </p:spPr>
        <p:txBody>
          <a:bodyPr/>
          <a:lstStyle>
            <a:lvl1pPr>
              <a:defRPr/>
            </a:lvl1pPr>
            <a:lvl2pPr>
              <a:defRPr/>
            </a:lvl2pPr>
            <a:lvl3pPr>
              <a:defRPr/>
            </a:lvl3pPr>
            <a:lvl4pPr>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Date Placeholder 4">
            <a:extLst>
              <a:ext uri="{FF2B5EF4-FFF2-40B4-BE49-F238E27FC236}">
                <a16:creationId xmlns:a16="http://schemas.microsoft.com/office/drawing/2014/main" id="{AA5227B3-9D23-4B0B-B20D-E90AB0E09E52}"/>
              </a:ext>
            </a:extLst>
          </p:cNvPr>
          <p:cNvSpPr>
            <a:spLocks noGrp="1"/>
          </p:cNvSpPr>
          <p:nvPr>
            <p:ph type="dt" sz="half" idx="10"/>
          </p:nvPr>
        </p:nvSpPr>
        <p:spPr/>
        <p:txBody>
          <a:bodyPr/>
          <a:lstStyle>
            <a:lvl1pPr>
              <a:defRPr>
                <a:solidFill>
                  <a:schemeClr val="accent1"/>
                </a:solidFill>
              </a:defRPr>
            </a:lvl1pPr>
          </a:lstStyle>
          <a:p>
            <a:r>
              <a:rPr lang="de-DE"/>
              <a:t>02 November 2025</a:t>
            </a:r>
            <a:endParaRPr lang="en-US"/>
          </a:p>
        </p:txBody>
      </p:sp>
      <p:sp>
        <p:nvSpPr>
          <p:cNvPr id="6" name="Footer Placeholder 5">
            <a:extLst>
              <a:ext uri="{FF2B5EF4-FFF2-40B4-BE49-F238E27FC236}">
                <a16:creationId xmlns:a16="http://schemas.microsoft.com/office/drawing/2014/main" id="{3AF83FD3-9274-482A-8C94-F5BC022606D3}"/>
              </a:ext>
            </a:extLst>
          </p:cNvPr>
          <p:cNvSpPr>
            <a:spLocks noGrp="1"/>
          </p:cNvSpPr>
          <p:nvPr>
            <p:ph type="ftr" sz="quarter" idx="11"/>
          </p:nvPr>
        </p:nvSpPr>
        <p:spPr/>
        <p:txBody>
          <a:bodyPr/>
          <a:lstStyle>
            <a:lvl1pPr>
              <a:defRPr>
                <a:solidFill>
                  <a:schemeClr val="accent1"/>
                </a:solidFill>
              </a:defRPr>
            </a:lvl1pPr>
          </a:lstStyle>
          <a:p>
            <a:r>
              <a:rPr lang="en-US"/>
              <a:t>APMWG</a:t>
            </a:r>
          </a:p>
        </p:txBody>
      </p:sp>
      <p:sp>
        <p:nvSpPr>
          <p:cNvPr id="7" name="Slide Number Placeholder 6">
            <a:extLst>
              <a:ext uri="{FF2B5EF4-FFF2-40B4-BE49-F238E27FC236}">
                <a16:creationId xmlns:a16="http://schemas.microsoft.com/office/drawing/2014/main" id="{ECC19CC5-1292-4F3E-AC14-45654E86320F}"/>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N°›</a:t>
            </a:fld>
            <a:endParaRPr lang="en-US"/>
          </a:p>
        </p:txBody>
      </p:sp>
      <p:sp>
        <p:nvSpPr>
          <p:cNvPr id="8" name="Freeform 5">
            <a:extLst>
              <a:ext uri="{FF2B5EF4-FFF2-40B4-BE49-F238E27FC236}">
                <a16:creationId xmlns:a16="http://schemas.microsoft.com/office/drawing/2014/main" id="{5B7B4106-2F1F-45B9-9A64-FAC3DF7E09F5}"/>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50071345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BLUE_ThankYou-2">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22D38E8E-19F8-46C4-BBB3-D11FF7711660}"/>
              </a:ext>
            </a:extLst>
          </p:cNvPr>
          <p:cNvSpPr>
            <a:spLocks noGrp="1"/>
          </p:cNvSpPr>
          <p:nvPr>
            <p:ph type="pic" sz="quarter" idx="13"/>
          </p:nvPr>
        </p:nvSpPr>
        <p:spPr>
          <a:xfrm>
            <a:off x="7057623" y="0"/>
            <a:ext cx="5134377" cy="5134377"/>
          </a:xfrm>
          <a:custGeom>
            <a:avLst/>
            <a:gdLst>
              <a:gd name="connsiteX0" fmla="*/ 0 w 5753100"/>
              <a:gd name="connsiteY0" fmla="*/ 0 h 5753100"/>
              <a:gd name="connsiteX1" fmla="*/ 5753100 w 5753100"/>
              <a:gd name="connsiteY1" fmla="*/ 0 h 5753100"/>
              <a:gd name="connsiteX2" fmla="*/ 5753100 w 5753100"/>
              <a:gd name="connsiteY2" fmla="*/ 5753100 h 5753100"/>
              <a:gd name="connsiteX3" fmla="*/ 0 w 5753100"/>
              <a:gd name="connsiteY3" fmla="*/ 5753100 h 5753100"/>
              <a:gd name="connsiteX4" fmla="*/ 0 w 5753100"/>
              <a:gd name="connsiteY4" fmla="*/ 3836825 h 5753100"/>
              <a:gd name="connsiteX5" fmla="*/ 1915378 w 5753100"/>
              <a:gd name="connsiteY5" fmla="*/ 3836825 h 5753100"/>
              <a:gd name="connsiteX6" fmla="*/ 1915378 w 5753100"/>
              <a:gd name="connsiteY6" fmla="*/ 1919151 h 5753100"/>
              <a:gd name="connsiteX7" fmla="*/ 0 w 5753100"/>
              <a:gd name="connsiteY7" fmla="*/ 1919151 h 575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3100" h="5753100">
                <a:moveTo>
                  <a:pt x="0" y="0"/>
                </a:moveTo>
                <a:lnTo>
                  <a:pt x="5753100" y="0"/>
                </a:lnTo>
                <a:lnTo>
                  <a:pt x="5753100" y="5753100"/>
                </a:lnTo>
                <a:lnTo>
                  <a:pt x="0" y="5753100"/>
                </a:lnTo>
                <a:lnTo>
                  <a:pt x="0" y="3836825"/>
                </a:lnTo>
                <a:lnTo>
                  <a:pt x="1915378" y="3836825"/>
                </a:lnTo>
                <a:lnTo>
                  <a:pt x="1915378" y="1919151"/>
                </a:lnTo>
                <a:lnTo>
                  <a:pt x="0" y="1919151"/>
                </a:lnTo>
                <a:close/>
              </a:path>
            </a:pathLst>
          </a:custGeom>
          <a:solidFill>
            <a:schemeClr val="bg2">
              <a:lumMod val="90000"/>
            </a:schemeClr>
          </a:solidFill>
        </p:spPr>
        <p:txBody>
          <a:bodyPr wrap="square" anchor="ctr" anchorCtr="0">
            <a:noAutofit/>
          </a:bodyPr>
          <a:lstStyle>
            <a:lvl1pPr algn="ctr">
              <a:defRPr/>
            </a:lvl1pPr>
          </a:lstStyle>
          <a:p>
            <a:endParaRPr lang="en-US"/>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7" name="Title 1">
            <a:extLst>
              <a:ext uri="{FF2B5EF4-FFF2-40B4-BE49-F238E27FC236}">
                <a16:creationId xmlns:a16="http://schemas.microsoft.com/office/drawing/2014/main" id="{587FC103-9DE1-4F89-B054-F6510798AE30}"/>
              </a:ext>
            </a:extLst>
          </p:cNvPr>
          <p:cNvSpPr>
            <a:spLocks noGrp="1"/>
          </p:cNvSpPr>
          <p:nvPr>
            <p:ph type="title" hasCustomPrompt="1"/>
          </p:nvPr>
        </p:nvSpPr>
        <p:spPr>
          <a:xfrm>
            <a:off x="381000" y="381000"/>
            <a:ext cx="4736592" cy="3048000"/>
          </a:xfrm>
        </p:spPr>
        <p:txBody>
          <a:bodyPr anchor="t" anchorCtr="0"/>
          <a:lstStyle>
            <a:lvl1pPr>
              <a:defRPr sz="5400">
                <a:solidFill>
                  <a:schemeClr val="bg1"/>
                </a:solidFill>
              </a:defRPr>
            </a:lvl1pPr>
          </a:lstStyle>
          <a:p>
            <a:r>
              <a:rPr lang="en-US"/>
              <a:t>Click to edit thank you style</a:t>
            </a:r>
          </a:p>
        </p:txBody>
      </p:sp>
      <p:sp>
        <p:nvSpPr>
          <p:cNvPr id="8" name="Content Placeholder 2">
            <a:extLst>
              <a:ext uri="{FF2B5EF4-FFF2-40B4-BE49-F238E27FC236}">
                <a16:creationId xmlns:a16="http://schemas.microsoft.com/office/drawing/2014/main" id="{1455B940-1A19-45DC-8F22-530EFA8E4ADA}"/>
              </a:ext>
            </a:extLst>
          </p:cNvPr>
          <p:cNvSpPr>
            <a:spLocks noGrp="1"/>
          </p:cNvSpPr>
          <p:nvPr>
            <p:ph sz="half" idx="1" hasCustomPrompt="1"/>
          </p:nvPr>
        </p:nvSpPr>
        <p:spPr>
          <a:xfrm>
            <a:off x="381000" y="3429000"/>
            <a:ext cx="4061737" cy="2438536"/>
          </a:xfrm>
        </p:spPr>
        <p:txBody>
          <a:bodyPr/>
          <a:lstStyle>
            <a:lvl1pPr>
              <a:defRPr/>
            </a:lvl1pPr>
          </a:lstStyle>
          <a:p>
            <a:pPr lvl="0"/>
            <a:r>
              <a:rPr lang="en-US"/>
              <a:t>Edit contact or  sign off information</a:t>
            </a:r>
          </a:p>
        </p:txBody>
      </p:sp>
    </p:spTree>
    <p:extLst>
      <p:ext uri="{BB962C8B-B14F-4D97-AF65-F5344CB8AC3E}">
        <p14:creationId xmlns:p14="http://schemas.microsoft.com/office/powerpoint/2010/main" val="276542455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BLUE_ThankYou-3">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7" name="Title 1">
            <a:extLst>
              <a:ext uri="{FF2B5EF4-FFF2-40B4-BE49-F238E27FC236}">
                <a16:creationId xmlns:a16="http://schemas.microsoft.com/office/drawing/2014/main" id="{587FC103-9DE1-4F89-B054-F6510798AE30}"/>
              </a:ext>
            </a:extLst>
          </p:cNvPr>
          <p:cNvSpPr>
            <a:spLocks noGrp="1"/>
          </p:cNvSpPr>
          <p:nvPr>
            <p:ph type="title" hasCustomPrompt="1"/>
          </p:nvPr>
        </p:nvSpPr>
        <p:spPr>
          <a:xfrm>
            <a:off x="381000" y="381000"/>
            <a:ext cx="4736592" cy="3048000"/>
          </a:xfrm>
        </p:spPr>
        <p:txBody>
          <a:bodyPr anchor="t" anchorCtr="0"/>
          <a:lstStyle>
            <a:lvl1pPr>
              <a:defRPr sz="5400">
                <a:solidFill>
                  <a:schemeClr val="bg1"/>
                </a:solidFill>
              </a:defRPr>
            </a:lvl1pPr>
          </a:lstStyle>
          <a:p>
            <a:r>
              <a:rPr lang="en-US"/>
              <a:t>Click to edit thank you style</a:t>
            </a:r>
          </a:p>
        </p:txBody>
      </p:sp>
      <p:sp>
        <p:nvSpPr>
          <p:cNvPr id="8" name="Content Placeholder 2">
            <a:extLst>
              <a:ext uri="{FF2B5EF4-FFF2-40B4-BE49-F238E27FC236}">
                <a16:creationId xmlns:a16="http://schemas.microsoft.com/office/drawing/2014/main" id="{1455B940-1A19-45DC-8F22-530EFA8E4ADA}"/>
              </a:ext>
            </a:extLst>
          </p:cNvPr>
          <p:cNvSpPr>
            <a:spLocks noGrp="1"/>
          </p:cNvSpPr>
          <p:nvPr>
            <p:ph sz="half" idx="1" hasCustomPrompt="1"/>
          </p:nvPr>
        </p:nvSpPr>
        <p:spPr>
          <a:xfrm>
            <a:off x="381000" y="3429000"/>
            <a:ext cx="4061737" cy="2438536"/>
          </a:xfrm>
        </p:spPr>
        <p:txBody>
          <a:bodyPr/>
          <a:lstStyle>
            <a:lvl1pPr>
              <a:defRPr/>
            </a:lvl1pPr>
          </a:lstStyle>
          <a:p>
            <a:pPr lvl="0"/>
            <a:r>
              <a:rPr lang="en-US"/>
              <a:t>Edit contact or  sign off information</a:t>
            </a:r>
          </a:p>
        </p:txBody>
      </p:sp>
      <p:sp>
        <p:nvSpPr>
          <p:cNvPr id="9" name="Picture Placeholder 9">
            <a:extLst>
              <a:ext uri="{FF2B5EF4-FFF2-40B4-BE49-F238E27FC236}">
                <a16:creationId xmlns:a16="http://schemas.microsoft.com/office/drawing/2014/main" id="{14E817B0-45E4-4CEA-8DFB-DBD5D757A2EB}"/>
              </a:ext>
            </a:extLst>
          </p:cNvPr>
          <p:cNvSpPr>
            <a:spLocks noGrp="1"/>
          </p:cNvSpPr>
          <p:nvPr>
            <p:ph type="pic" sz="quarter" idx="14"/>
          </p:nvPr>
        </p:nvSpPr>
        <p:spPr>
          <a:xfrm>
            <a:off x="6936000" y="0"/>
            <a:ext cx="5256000" cy="5256000"/>
          </a:xfrm>
          <a:custGeom>
            <a:avLst/>
            <a:gdLst>
              <a:gd name="connsiteX0" fmla="*/ 0 w 5256000"/>
              <a:gd name="connsiteY0" fmla="*/ 0 h 5256000"/>
              <a:gd name="connsiteX1" fmla="*/ 4380230 w 5256000"/>
              <a:gd name="connsiteY1" fmla="*/ 0 h 5256000"/>
              <a:gd name="connsiteX2" fmla="*/ 5256000 w 5256000"/>
              <a:gd name="connsiteY2" fmla="*/ 876229 h 5256000"/>
              <a:gd name="connsiteX3" fmla="*/ 4380230 w 5256000"/>
              <a:gd name="connsiteY3" fmla="*/ 876229 h 5256000"/>
              <a:gd name="connsiteX4" fmla="*/ 5256000 w 5256000"/>
              <a:gd name="connsiteY4" fmla="*/ 1752459 h 5256000"/>
              <a:gd name="connsiteX5" fmla="*/ 4380230 w 5256000"/>
              <a:gd name="connsiteY5" fmla="*/ 1752459 h 5256000"/>
              <a:gd name="connsiteX6" fmla="*/ 5256000 w 5256000"/>
              <a:gd name="connsiteY6" fmla="*/ 2628688 h 5256000"/>
              <a:gd name="connsiteX7" fmla="*/ 4380230 w 5256000"/>
              <a:gd name="connsiteY7" fmla="*/ 2628688 h 5256000"/>
              <a:gd name="connsiteX8" fmla="*/ 5256000 w 5256000"/>
              <a:gd name="connsiteY8" fmla="*/ 3503542 h 5256000"/>
              <a:gd name="connsiteX9" fmla="*/ 4380230 w 5256000"/>
              <a:gd name="connsiteY9" fmla="*/ 3503542 h 5256000"/>
              <a:gd name="connsiteX10" fmla="*/ 5256000 w 5256000"/>
              <a:gd name="connsiteY10" fmla="*/ 4379771 h 5256000"/>
              <a:gd name="connsiteX11" fmla="*/ 4380230 w 5256000"/>
              <a:gd name="connsiteY11" fmla="*/ 4379771 h 5256000"/>
              <a:gd name="connsiteX12" fmla="*/ 5256000 w 5256000"/>
              <a:gd name="connsiteY12" fmla="*/ 5256000 h 5256000"/>
              <a:gd name="connsiteX13" fmla="*/ 0 w 5256000"/>
              <a:gd name="connsiteY13" fmla="*/ 5256000 h 52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56000" h="5256000">
                <a:moveTo>
                  <a:pt x="0" y="0"/>
                </a:moveTo>
                <a:lnTo>
                  <a:pt x="4380230" y="0"/>
                </a:lnTo>
                <a:lnTo>
                  <a:pt x="5256000" y="876229"/>
                </a:lnTo>
                <a:lnTo>
                  <a:pt x="4380230" y="876229"/>
                </a:lnTo>
                <a:lnTo>
                  <a:pt x="5256000" y="1752459"/>
                </a:lnTo>
                <a:lnTo>
                  <a:pt x="4380230" y="1752459"/>
                </a:lnTo>
                <a:lnTo>
                  <a:pt x="5256000" y="2628688"/>
                </a:lnTo>
                <a:lnTo>
                  <a:pt x="4380230" y="2628688"/>
                </a:lnTo>
                <a:lnTo>
                  <a:pt x="5256000" y="3503542"/>
                </a:lnTo>
                <a:lnTo>
                  <a:pt x="4380230" y="3503542"/>
                </a:lnTo>
                <a:lnTo>
                  <a:pt x="5256000" y="4379771"/>
                </a:lnTo>
                <a:lnTo>
                  <a:pt x="4380230" y="4379771"/>
                </a:lnTo>
                <a:lnTo>
                  <a:pt x="5256000" y="5256000"/>
                </a:lnTo>
                <a:lnTo>
                  <a:pt x="0" y="5256000"/>
                </a:lnTo>
                <a:close/>
              </a:path>
            </a:pathLst>
          </a:custGeom>
          <a:solidFill>
            <a:schemeClr val="bg2">
              <a:lumMod val="90000"/>
            </a:schemeClr>
          </a:solidFill>
        </p:spPr>
        <p:txBody>
          <a:bodyPr wrap="square" anchor="ctr" anchorCtr="0">
            <a:noAutofit/>
          </a:bodyPr>
          <a:lstStyle>
            <a:lvl1pPr algn="ctr">
              <a:lnSpc>
                <a:spcPct val="100000"/>
              </a:lnSpc>
              <a:defRPr sz="2000">
                <a:solidFill>
                  <a:schemeClr val="tx1"/>
                </a:solidFill>
                <a:latin typeface="+mn-lt"/>
              </a:defRPr>
            </a:lvl1pPr>
          </a:lstStyle>
          <a:p>
            <a:endParaRPr lang="en-GB"/>
          </a:p>
        </p:txBody>
      </p:sp>
    </p:spTree>
    <p:extLst>
      <p:ext uri="{BB962C8B-B14F-4D97-AF65-F5344CB8AC3E}">
        <p14:creationId xmlns:p14="http://schemas.microsoft.com/office/powerpoint/2010/main" val="17807222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WHITE_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D976F-6FAA-4B37-814C-E2540D4155CD}"/>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a:extLst>
              <a:ext uri="{FF2B5EF4-FFF2-40B4-BE49-F238E27FC236}">
                <a16:creationId xmlns:a16="http://schemas.microsoft.com/office/drawing/2014/main" id="{0F0BFC25-F2D8-40D7-96BA-C0F78F6A687A}"/>
              </a:ext>
            </a:extLst>
          </p:cNvPr>
          <p:cNvSpPr>
            <a:spLocks noGrp="1"/>
          </p:cNvSpPr>
          <p:nvPr>
            <p:ph type="dt" sz="half" idx="10"/>
          </p:nvPr>
        </p:nvSpPr>
        <p:spPr/>
        <p:txBody>
          <a:bodyPr/>
          <a:lstStyle>
            <a:lvl1pPr>
              <a:defRPr>
                <a:solidFill>
                  <a:schemeClr val="accent1"/>
                </a:solidFill>
              </a:defRPr>
            </a:lvl1pPr>
          </a:lstStyle>
          <a:p>
            <a:r>
              <a:rPr lang="de-DE"/>
              <a:t>02 November 2025</a:t>
            </a:r>
            <a:endParaRPr lang="en-US"/>
          </a:p>
        </p:txBody>
      </p:sp>
      <p:sp>
        <p:nvSpPr>
          <p:cNvPr id="4" name="Footer Placeholder 3">
            <a:extLst>
              <a:ext uri="{FF2B5EF4-FFF2-40B4-BE49-F238E27FC236}">
                <a16:creationId xmlns:a16="http://schemas.microsoft.com/office/drawing/2014/main" id="{D0EEA34B-ADB0-4A9B-A944-DB4F9AB7A20C}"/>
              </a:ext>
            </a:extLst>
          </p:cNvPr>
          <p:cNvSpPr>
            <a:spLocks noGrp="1"/>
          </p:cNvSpPr>
          <p:nvPr>
            <p:ph type="ftr" sz="quarter" idx="11"/>
          </p:nvPr>
        </p:nvSpPr>
        <p:spPr/>
        <p:txBody>
          <a:bodyPr/>
          <a:lstStyle>
            <a:lvl1pPr>
              <a:defRPr>
                <a:solidFill>
                  <a:schemeClr val="accent1"/>
                </a:solidFill>
              </a:defRPr>
            </a:lvl1pPr>
          </a:lstStyle>
          <a:p>
            <a:r>
              <a:rPr lang="en-US"/>
              <a:t>APMWG</a:t>
            </a:r>
          </a:p>
        </p:txBody>
      </p:sp>
      <p:sp>
        <p:nvSpPr>
          <p:cNvPr id="5" name="Slide Number Placeholder 4">
            <a:extLst>
              <a:ext uri="{FF2B5EF4-FFF2-40B4-BE49-F238E27FC236}">
                <a16:creationId xmlns:a16="http://schemas.microsoft.com/office/drawing/2014/main" id="{E72EE72B-8C4F-4C4B-8E3A-D7A4D706EB14}"/>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N°›</a:t>
            </a:fld>
            <a:endParaRPr lang="en-US"/>
          </a:p>
        </p:txBody>
      </p:sp>
      <p:sp>
        <p:nvSpPr>
          <p:cNvPr id="6" name="Freeform 5">
            <a:extLst>
              <a:ext uri="{FF2B5EF4-FFF2-40B4-BE49-F238E27FC236}">
                <a16:creationId xmlns:a16="http://schemas.microsoft.com/office/drawing/2014/main" id="{9E037E20-29EF-410F-AA70-D50FAE88B30D}"/>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019912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WHITE_Blank">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1A86010D-9F01-497B-8478-6CF04E7FA292}"/>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Date Placeholder 5">
            <a:extLst>
              <a:ext uri="{FF2B5EF4-FFF2-40B4-BE49-F238E27FC236}">
                <a16:creationId xmlns:a16="http://schemas.microsoft.com/office/drawing/2014/main" id="{358FB484-E257-4956-8FB5-C4732E104901}"/>
              </a:ext>
            </a:extLst>
          </p:cNvPr>
          <p:cNvSpPr>
            <a:spLocks noGrp="1"/>
          </p:cNvSpPr>
          <p:nvPr>
            <p:ph type="dt" sz="half" idx="10"/>
          </p:nvPr>
        </p:nvSpPr>
        <p:spPr/>
        <p:txBody>
          <a:bodyPr/>
          <a:lstStyle>
            <a:lvl1pPr>
              <a:defRPr>
                <a:solidFill>
                  <a:schemeClr val="accent1"/>
                </a:solidFill>
              </a:defRPr>
            </a:lvl1pPr>
          </a:lstStyle>
          <a:p>
            <a:r>
              <a:rPr lang="de-DE"/>
              <a:t>02 November 2025</a:t>
            </a:r>
            <a:endParaRPr lang="en-US"/>
          </a:p>
        </p:txBody>
      </p:sp>
      <p:sp>
        <p:nvSpPr>
          <p:cNvPr id="7" name="Footer Placeholder 6">
            <a:extLst>
              <a:ext uri="{FF2B5EF4-FFF2-40B4-BE49-F238E27FC236}">
                <a16:creationId xmlns:a16="http://schemas.microsoft.com/office/drawing/2014/main" id="{9AF5AAFD-95B3-4157-BBB5-7CC40DB355FC}"/>
              </a:ext>
            </a:extLst>
          </p:cNvPr>
          <p:cNvSpPr>
            <a:spLocks noGrp="1"/>
          </p:cNvSpPr>
          <p:nvPr>
            <p:ph type="ftr" sz="quarter" idx="11"/>
          </p:nvPr>
        </p:nvSpPr>
        <p:spPr/>
        <p:txBody>
          <a:bodyPr/>
          <a:lstStyle>
            <a:lvl1pPr>
              <a:defRPr>
                <a:solidFill>
                  <a:schemeClr val="accent1"/>
                </a:solidFill>
              </a:defRPr>
            </a:lvl1pPr>
          </a:lstStyle>
          <a:p>
            <a:r>
              <a:rPr lang="en-US"/>
              <a:t>APMWG</a:t>
            </a:r>
          </a:p>
        </p:txBody>
      </p:sp>
      <p:sp>
        <p:nvSpPr>
          <p:cNvPr id="8" name="Slide Number Placeholder 7">
            <a:extLst>
              <a:ext uri="{FF2B5EF4-FFF2-40B4-BE49-F238E27FC236}">
                <a16:creationId xmlns:a16="http://schemas.microsoft.com/office/drawing/2014/main" id="{BA34BD8F-0033-4927-AA44-05B0484E30FA}"/>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N°›</a:t>
            </a:fld>
            <a:endParaRPr lang="en-US"/>
          </a:p>
        </p:txBody>
      </p:sp>
    </p:spTree>
    <p:extLst>
      <p:ext uri="{BB962C8B-B14F-4D97-AF65-F5344CB8AC3E}">
        <p14:creationId xmlns:p14="http://schemas.microsoft.com/office/powerpoint/2010/main" val="38274474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HITE_ThankYou-1">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DBB8F16C-570A-470A-AC41-3DFDC1411C30}"/>
              </a:ext>
            </a:extLst>
          </p:cNvPr>
          <p:cNvSpPr>
            <a:spLocks noGrp="1"/>
          </p:cNvSpPr>
          <p:nvPr>
            <p:ph type="pic" sz="quarter" idx="13"/>
          </p:nvPr>
        </p:nvSpPr>
        <p:spPr>
          <a:xfrm>
            <a:off x="6448425" y="0"/>
            <a:ext cx="5753100" cy="5753100"/>
          </a:xfrm>
          <a:custGeom>
            <a:avLst/>
            <a:gdLst>
              <a:gd name="connsiteX0" fmla="*/ 0 w 5753100"/>
              <a:gd name="connsiteY0" fmla="*/ 0 h 5753100"/>
              <a:gd name="connsiteX1" fmla="*/ 5753100 w 5753100"/>
              <a:gd name="connsiteY1" fmla="*/ 0 h 5753100"/>
              <a:gd name="connsiteX2" fmla="*/ 5753100 w 5753100"/>
              <a:gd name="connsiteY2" fmla="*/ 5753100 h 5753100"/>
              <a:gd name="connsiteX3" fmla="*/ 5742127 w 5753100"/>
              <a:gd name="connsiteY3" fmla="*/ 5753100 h 5753100"/>
              <a:gd name="connsiteX4" fmla="*/ 4388 w 5753100"/>
              <a:gd name="connsiteY4" fmla="*/ 297076 h 5753100"/>
              <a:gd name="connsiteX5" fmla="*/ 0 w 5753100"/>
              <a:gd name="connsiteY5" fmla="*/ 123264 h 575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5753100">
                <a:moveTo>
                  <a:pt x="0" y="0"/>
                </a:moveTo>
                <a:lnTo>
                  <a:pt x="5753100" y="0"/>
                </a:lnTo>
                <a:lnTo>
                  <a:pt x="5753100" y="5753100"/>
                </a:lnTo>
                <a:lnTo>
                  <a:pt x="5742127" y="5753100"/>
                </a:lnTo>
                <a:cubicBezTo>
                  <a:pt x="2667478" y="5753100"/>
                  <a:pt x="158214" y="3337026"/>
                  <a:pt x="4388" y="297076"/>
                </a:cubicBezTo>
                <a:lnTo>
                  <a:pt x="0" y="123264"/>
                </a:lnTo>
                <a:close/>
              </a:path>
            </a:pathLst>
          </a:custGeom>
          <a:solidFill>
            <a:schemeClr val="bg2">
              <a:lumMod val="90000"/>
            </a:schemeClr>
          </a:solidFill>
        </p:spPr>
        <p:txBody>
          <a:bodyPr wrap="square" anchor="ctr" anchorCtr="0">
            <a:noAutofit/>
          </a:bodyPr>
          <a:lstStyle>
            <a:lvl1pPr algn="ctr">
              <a:defRPr/>
            </a:lvl1pPr>
          </a:lstStyle>
          <a:p>
            <a:r>
              <a:rPr lang="en-US"/>
              <a:t>Click icon to add picture</a:t>
            </a:r>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lvl1pPr>
              <a:defRPr>
                <a:solidFill>
                  <a:schemeClr val="accent1"/>
                </a:solidFill>
              </a:defRPr>
            </a:lvl1pPr>
          </a:lstStyle>
          <a:p>
            <a:r>
              <a:rPr lang="de-DE"/>
              <a:t>02 November 2025</a:t>
            </a:r>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lvl1pPr>
              <a:defRPr>
                <a:solidFill>
                  <a:schemeClr val="accent1"/>
                </a:solidFill>
              </a:defRPr>
            </a:lvl1pPr>
          </a:lstStyle>
          <a:p>
            <a:r>
              <a:rPr lang="en-US"/>
              <a:t>APMWG</a:t>
            </a:r>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N°›</a:t>
            </a:fld>
            <a:endParaRPr lang="en-US"/>
          </a:p>
        </p:txBody>
      </p:sp>
      <p:sp>
        <p:nvSpPr>
          <p:cNvPr id="7" name="Title 1">
            <a:extLst>
              <a:ext uri="{FF2B5EF4-FFF2-40B4-BE49-F238E27FC236}">
                <a16:creationId xmlns:a16="http://schemas.microsoft.com/office/drawing/2014/main" id="{587FC103-9DE1-4F89-B054-F6510798AE30}"/>
              </a:ext>
            </a:extLst>
          </p:cNvPr>
          <p:cNvSpPr>
            <a:spLocks noGrp="1"/>
          </p:cNvSpPr>
          <p:nvPr>
            <p:ph type="title" hasCustomPrompt="1"/>
          </p:nvPr>
        </p:nvSpPr>
        <p:spPr>
          <a:xfrm>
            <a:off x="381000" y="381000"/>
            <a:ext cx="4736592" cy="3048000"/>
          </a:xfrm>
        </p:spPr>
        <p:txBody>
          <a:bodyPr anchor="t" anchorCtr="0"/>
          <a:lstStyle>
            <a:lvl1pPr>
              <a:defRPr sz="5400">
                <a:solidFill>
                  <a:schemeClr val="accent1"/>
                </a:solidFill>
              </a:defRPr>
            </a:lvl1pPr>
          </a:lstStyle>
          <a:p>
            <a:r>
              <a:rPr lang="en-US"/>
              <a:t>Click to edit thank you style</a:t>
            </a:r>
          </a:p>
        </p:txBody>
      </p:sp>
      <p:sp>
        <p:nvSpPr>
          <p:cNvPr id="8" name="Content Placeholder 2">
            <a:extLst>
              <a:ext uri="{FF2B5EF4-FFF2-40B4-BE49-F238E27FC236}">
                <a16:creationId xmlns:a16="http://schemas.microsoft.com/office/drawing/2014/main" id="{1455B940-1A19-45DC-8F22-530EFA8E4ADA}"/>
              </a:ext>
            </a:extLst>
          </p:cNvPr>
          <p:cNvSpPr>
            <a:spLocks noGrp="1"/>
          </p:cNvSpPr>
          <p:nvPr>
            <p:ph sz="half" idx="1" hasCustomPrompt="1"/>
          </p:nvPr>
        </p:nvSpPr>
        <p:spPr>
          <a:xfrm>
            <a:off x="381000" y="3429000"/>
            <a:ext cx="4736592" cy="2438536"/>
          </a:xfrm>
        </p:spPr>
        <p:txBody>
          <a:bodyPr/>
          <a:lstStyle>
            <a:lvl1pPr>
              <a:defRPr/>
            </a:lvl1pPr>
          </a:lstStyle>
          <a:p>
            <a:pPr lvl="0"/>
            <a:r>
              <a:rPr lang="en-US"/>
              <a:t>Edit contact or sign off information</a:t>
            </a:r>
          </a:p>
        </p:txBody>
      </p:sp>
      <p:sp>
        <p:nvSpPr>
          <p:cNvPr id="9" name="Freeform 5">
            <a:extLst>
              <a:ext uri="{FF2B5EF4-FFF2-40B4-BE49-F238E27FC236}">
                <a16:creationId xmlns:a16="http://schemas.microsoft.com/office/drawing/2014/main" id="{0F5EA913-91DE-4286-B6E6-13E414E82212}"/>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2405099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over Style 2">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3"/>
          </p:nvPr>
        </p:nvSpPr>
        <p:spPr>
          <a:xfrm>
            <a:off x="5788800" y="1"/>
            <a:ext cx="6412180" cy="6858001"/>
          </a:xfrm>
          <a:custGeom>
            <a:avLst/>
            <a:gdLst>
              <a:gd name="connsiteX0" fmla="*/ 0 w 6849788"/>
              <a:gd name="connsiteY0" fmla="*/ 0 h 6850063"/>
              <a:gd name="connsiteX1" fmla="*/ 6849788 w 6849788"/>
              <a:gd name="connsiteY1" fmla="*/ 0 h 6850063"/>
              <a:gd name="connsiteX2" fmla="*/ 6849788 w 6849788"/>
              <a:gd name="connsiteY2" fmla="*/ 6850063 h 6850063"/>
              <a:gd name="connsiteX3" fmla="*/ 2276020 w 6849788"/>
              <a:gd name="connsiteY3" fmla="*/ 6850063 h 6850063"/>
              <a:gd name="connsiteX4" fmla="*/ 0 w 6849788"/>
              <a:gd name="connsiteY4" fmla="*/ 4572000 h 6850063"/>
              <a:gd name="connsiteX0" fmla="*/ 0 w 6849788"/>
              <a:gd name="connsiteY0" fmla="*/ 0 h 6850063"/>
              <a:gd name="connsiteX1" fmla="*/ 6435598 w 6849788"/>
              <a:gd name="connsiteY1" fmla="*/ 0 h 6850063"/>
              <a:gd name="connsiteX2" fmla="*/ 6849788 w 6849788"/>
              <a:gd name="connsiteY2" fmla="*/ 6850063 h 6850063"/>
              <a:gd name="connsiteX3" fmla="*/ 2276020 w 6849788"/>
              <a:gd name="connsiteY3" fmla="*/ 6850063 h 6850063"/>
              <a:gd name="connsiteX4" fmla="*/ 0 w 6849788"/>
              <a:gd name="connsiteY4" fmla="*/ 4572000 h 6850063"/>
              <a:gd name="connsiteX5" fmla="*/ 0 w 6849788"/>
              <a:gd name="connsiteY5" fmla="*/ 0 h 6850063"/>
              <a:gd name="connsiteX0" fmla="*/ 0 w 6435598"/>
              <a:gd name="connsiteY0" fmla="*/ 0 h 6850063"/>
              <a:gd name="connsiteX1" fmla="*/ 6435598 w 6435598"/>
              <a:gd name="connsiteY1" fmla="*/ 0 h 6850063"/>
              <a:gd name="connsiteX2" fmla="*/ 5734661 w 6435598"/>
              <a:gd name="connsiteY2" fmla="*/ 6850063 h 6850063"/>
              <a:gd name="connsiteX3" fmla="*/ 2276020 w 6435598"/>
              <a:gd name="connsiteY3" fmla="*/ 6850063 h 6850063"/>
              <a:gd name="connsiteX4" fmla="*/ 0 w 6435598"/>
              <a:gd name="connsiteY4" fmla="*/ 4572000 h 6850063"/>
              <a:gd name="connsiteX5" fmla="*/ 0 w 6435598"/>
              <a:gd name="connsiteY5" fmla="*/ 0 h 6850063"/>
              <a:gd name="connsiteX0" fmla="*/ 0 w 6435598"/>
              <a:gd name="connsiteY0" fmla="*/ 0 h 6850063"/>
              <a:gd name="connsiteX1" fmla="*/ 6435598 w 6435598"/>
              <a:gd name="connsiteY1" fmla="*/ 0 h 6850063"/>
              <a:gd name="connsiteX2" fmla="*/ 6393117 w 6435598"/>
              <a:gd name="connsiteY2" fmla="*/ 6828823 h 6850063"/>
              <a:gd name="connsiteX3" fmla="*/ 2276020 w 6435598"/>
              <a:gd name="connsiteY3" fmla="*/ 6850063 h 6850063"/>
              <a:gd name="connsiteX4" fmla="*/ 0 w 6435598"/>
              <a:gd name="connsiteY4" fmla="*/ 4572000 h 6850063"/>
              <a:gd name="connsiteX5" fmla="*/ 0 w 6435598"/>
              <a:gd name="connsiteY5" fmla="*/ 0 h 6850063"/>
              <a:gd name="connsiteX0" fmla="*/ 0 w 6435598"/>
              <a:gd name="connsiteY0" fmla="*/ 0 h 6850064"/>
              <a:gd name="connsiteX1" fmla="*/ 6435598 w 6435598"/>
              <a:gd name="connsiteY1" fmla="*/ 0 h 6850064"/>
              <a:gd name="connsiteX2" fmla="*/ 6393117 w 6435598"/>
              <a:gd name="connsiteY2" fmla="*/ 6850064 h 6850064"/>
              <a:gd name="connsiteX3" fmla="*/ 2276020 w 6435598"/>
              <a:gd name="connsiteY3" fmla="*/ 6850063 h 6850064"/>
              <a:gd name="connsiteX4" fmla="*/ 0 w 6435598"/>
              <a:gd name="connsiteY4" fmla="*/ 4572000 h 6850064"/>
              <a:gd name="connsiteX5" fmla="*/ 0 w 6435598"/>
              <a:gd name="connsiteY5" fmla="*/ 0 h 6850064"/>
              <a:gd name="connsiteX0" fmla="*/ 0 w 6393117"/>
              <a:gd name="connsiteY0" fmla="*/ 0 h 6850064"/>
              <a:gd name="connsiteX1" fmla="*/ 5851485 w 6393117"/>
              <a:gd name="connsiteY1" fmla="*/ 95582 h 6850064"/>
              <a:gd name="connsiteX2" fmla="*/ 6393117 w 6393117"/>
              <a:gd name="connsiteY2" fmla="*/ 6850064 h 6850064"/>
              <a:gd name="connsiteX3" fmla="*/ 2276020 w 6393117"/>
              <a:gd name="connsiteY3" fmla="*/ 6850063 h 6850064"/>
              <a:gd name="connsiteX4" fmla="*/ 0 w 6393117"/>
              <a:gd name="connsiteY4" fmla="*/ 4572000 h 6850064"/>
              <a:gd name="connsiteX5" fmla="*/ 0 w 6393117"/>
              <a:gd name="connsiteY5" fmla="*/ 0 h 6850064"/>
              <a:gd name="connsiteX0" fmla="*/ 0 w 6403739"/>
              <a:gd name="connsiteY0" fmla="*/ 0 h 6850064"/>
              <a:gd name="connsiteX1" fmla="*/ 6403739 w 6403739"/>
              <a:gd name="connsiteY1" fmla="*/ 0 h 6850064"/>
              <a:gd name="connsiteX2" fmla="*/ 6393117 w 6403739"/>
              <a:gd name="connsiteY2" fmla="*/ 6850064 h 6850064"/>
              <a:gd name="connsiteX3" fmla="*/ 2276020 w 6403739"/>
              <a:gd name="connsiteY3" fmla="*/ 6850063 h 6850064"/>
              <a:gd name="connsiteX4" fmla="*/ 0 w 6403739"/>
              <a:gd name="connsiteY4" fmla="*/ 4572000 h 6850064"/>
              <a:gd name="connsiteX5" fmla="*/ 0 w 6403739"/>
              <a:gd name="connsiteY5" fmla="*/ 0 h 6850064"/>
              <a:gd name="connsiteX0" fmla="*/ 0 w 6404760"/>
              <a:gd name="connsiteY0" fmla="*/ 0 h 6850064"/>
              <a:gd name="connsiteX1" fmla="*/ 6403739 w 6404760"/>
              <a:gd name="connsiteY1" fmla="*/ 0 h 6850064"/>
              <a:gd name="connsiteX2" fmla="*/ 6403738 w 6404760"/>
              <a:gd name="connsiteY2" fmla="*/ 6850064 h 6850064"/>
              <a:gd name="connsiteX3" fmla="*/ 2276020 w 6404760"/>
              <a:gd name="connsiteY3" fmla="*/ 6850063 h 6850064"/>
              <a:gd name="connsiteX4" fmla="*/ 0 w 6404760"/>
              <a:gd name="connsiteY4" fmla="*/ 4572000 h 6850064"/>
              <a:gd name="connsiteX5" fmla="*/ 0 w 6404760"/>
              <a:gd name="connsiteY5" fmla="*/ 0 h 685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4760" h="6850064">
                <a:moveTo>
                  <a:pt x="0" y="0"/>
                </a:moveTo>
                <a:lnTo>
                  <a:pt x="6403739" y="0"/>
                </a:lnTo>
                <a:cubicBezTo>
                  <a:pt x="6400198" y="2283355"/>
                  <a:pt x="6407279" y="4566709"/>
                  <a:pt x="6403738" y="6850064"/>
                </a:cubicBezTo>
                <a:lnTo>
                  <a:pt x="2276020" y="6850063"/>
                </a:lnTo>
                <a:lnTo>
                  <a:pt x="0" y="4572000"/>
                </a:lnTo>
                <a:lnTo>
                  <a:pt x="0" y="0"/>
                </a:lnTo>
                <a:close/>
              </a:path>
            </a:pathLst>
          </a:custGeom>
          <a:solidFill>
            <a:schemeClr val="bg2"/>
          </a:solidFill>
        </p:spPr>
        <p:txBody>
          <a:bodyPr wrap="square">
            <a:noAutofit/>
          </a:bodyPr>
          <a:lstStyle/>
          <a:p>
            <a:endParaRPr lang="en-US"/>
          </a:p>
        </p:txBody>
      </p:sp>
      <p:sp>
        <p:nvSpPr>
          <p:cNvPr id="17" name="Title 1">
            <a:extLst>
              <a:ext uri="{FF2B5EF4-FFF2-40B4-BE49-F238E27FC236}">
                <a16:creationId xmlns:a16="http://schemas.microsoft.com/office/drawing/2014/main"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a:t>Click to </a:t>
            </a:r>
            <a:br>
              <a:rPr lang="en-US"/>
            </a:br>
            <a:r>
              <a:rPr lang="en-US"/>
              <a:t>edit title </a:t>
            </a:r>
          </a:p>
        </p:txBody>
      </p:sp>
      <p:sp>
        <p:nvSpPr>
          <p:cNvPr id="19" name="Date Placeholder 3">
            <a:extLst>
              <a:ext uri="{FF2B5EF4-FFF2-40B4-BE49-F238E27FC236}">
                <a16:creationId xmlns:a16="http://schemas.microsoft.com/office/drawing/2014/main"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prstClr val="white"/>
                </a:solidFill>
                <a:effectLst/>
                <a:uLnTx/>
                <a:uFillTx/>
                <a:latin typeface="Aktiv Grotesk"/>
                <a:ea typeface="+mn-ea"/>
                <a:cs typeface="+mn-cs"/>
              </a:rPr>
              <a:t>02 November 2025</a:t>
            </a:r>
            <a:endParaRPr kumimoji="0" lang="en-US" sz="2000" b="0" i="0" u="none" strike="noStrike" kern="1200" cap="none" spc="0" normalizeH="0" baseline="0" noProof="0">
              <a:ln>
                <a:noFill/>
              </a:ln>
              <a:solidFill>
                <a:prstClr val="white"/>
              </a:solidFill>
              <a:effectLst/>
              <a:uLnTx/>
              <a:uFillTx/>
              <a:latin typeface="Aktiv Grotesk"/>
              <a:ea typeface="+mn-ea"/>
              <a:cs typeface="+mn-cs"/>
            </a:endParaRPr>
          </a:p>
        </p:txBody>
      </p:sp>
      <p:sp>
        <p:nvSpPr>
          <p:cNvPr id="7" name="Freeform 5">
            <a:extLst>
              <a:ext uri="{FF2B5EF4-FFF2-40B4-BE49-F238E27FC236}">
                <a16:creationId xmlns:a16="http://schemas.microsoft.com/office/drawing/2014/main" id="{0C7D4C7D-8888-F24A-8D56-9B5233DECD73}"/>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ktiv Grotesk"/>
              <a:ea typeface="+mn-ea"/>
              <a:cs typeface="+mn-cs"/>
            </a:endParaRPr>
          </a:p>
        </p:txBody>
      </p:sp>
      <p:sp>
        <p:nvSpPr>
          <p:cNvPr id="8" name="Subtitle 2">
            <a:extLst>
              <a:ext uri="{FF2B5EF4-FFF2-40B4-BE49-F238E27FC236}">
                <a16:creationId xmlns:a16="http://schemas.microsoft.com/office/drawing/2014/main"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t>
            </a:r>
            <a:br>
              <a:rPr lang="en-US"/>
            </a:br>
            <a:r>
              <a:rPr lang="en-US"/>
              <a:t>subtitle style</a:t>
            </a:r>
          </a:p>
        </p:txBody>
      </p:sp>
    </p:spTree>
    <p:extLst>
      <p:ext uri="{BB962C8B-B14F-4D97-AF65-F5344CB8AC3E}">
        <p14:creationId xmlns:p14="http://schemas.microsoft.com/office/powerpoint/2010/main" val="138087380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76413670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kt 7"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211667" cy="21166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SzPct val="90000"/>
              <a:buFontTx/>
              <a:buNone/>
            </a:pPr>
            <a:endParaRPr lang="en-US" sz="2667" b="0" i="0" baseline="0" err="1">
              <a:solidFill>
                <a:schemeClr val="tx1"/>
              </a:solidFill>
              <a:latin typeface="Lufthansa Office Head"/>
              <a:ea typeface="+mj-ea"/>
              <a:cs typeface="+mj-cs"/>
              <a:sym typeface="Lufthansa Office Head"/>
            </a:endParaRPr>
          </a:p>
        </p:txBody>
      </p:sp>
      <p:sp>
        <p:nvSpPr>
          <p:cNvPr id="2" name="Titel 1"/>
          <p:cNvSpPr>
            <a:spLocks noGrp="1"/>
          </p:cNvSpPr>
          <p:nvPr>
            <p:ph type="title"/>
          </p:nvPr>
        </p:nvSpPr>
        <p:spPr/>
        <p:txBody>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Datumsplatzhalter 2"/>
          <p:cNvSpPr>
            <a:spLocks noGrp="1"/>
          </p:cNvSpPr>
          <p:nvPr>
            <p:ph type="dt" sz="half" idx="10"/>
          </p:nvPr>
        </p:nvSpPr>
        <p:spPr/>
        <p:txBody>
          <a:bodyPr/>
          <a:lstStyle/>
          <a:p>
            <a:r>
              <a:rPr lang="de-DE" noProof="0"/>
              <a:t>02 November 2025</a:t>
            </a:r>
            <a:endParaRPr lang="en-US" noProof="0"/>
          </a:p>
        </p:txBody>
      </p:sp>
      <p:sp>
        <p:nvSpPr>
          <p:cNvPr id="4" name="Fußzeilenplatzhalter 3"/>
          <p:cNvSpPr>
            <a:spLocks noGrp="1"/>
          </p:cNvSpPr>
          <p:nvPr>
            <p:ph type="ftr" sz="quarter" idx="11"/>
          </p:nvPr>
        </p:nvSpPr>
        <p:spPr/>
        <p:txBody>
          <a:bodyPr/>
          <a:lstStyle/>
          <a:p>
            <a:r>
              <a:rPr lang="en-US" noProof="0"/>
              <a:t>APMWG</a:t>
            </a:r>
          </a:p>
        </p:txBody>
      </p:sp>
      <p:sp>
        <p:nvSpPr>
          <p:cNvPr id="5" name="Foliennummernplatzhalter 4"/>
          <p:cNvSpPr>
            <a:spLocks noGrp="1"/>
          </p:cNvSpPr>
          <p:nvPr>
            <p:ph type="sldNum" sz="quarter" idx="12"/>
          </p:nvPr>
        </p:nvSpPr>
        <p:spPr/>
        <p:txBody>
          <a:bodyPr/>
          <a:lstStyle/>
          <a:p>
            <a:r>
              <a:rPr lang="en-US" noProof="0"/>
              <a:t>Page </a:t>
            </a:r>
            <a:fld id="{67242389-55B8-40B0-97B3-D8452A5F367E}" type="slidenum">
              <a:rPr lang="en-US" noProof="0" smtClean="0"/>
              <a:pPr/>
              <a:t>‹N°›</a:t>
            </a:fld>
            <a:endParaRPr lang="en-US" noProof="0"/>
          </a:p>
        </p:txBody>
      </p:sp>
      <p:sp>
        <p:nvSpPr>
          <p:cNvPr id="6" name="Textplatzhalter 8">
            <a:extLst>
              <a:ext uri="{FF2B5EF4-FFF2-40B4-BE49-F238E27FC236}">
                <a16:creationId xmlns:a16="http://schemas.microsoft.com/office/drawing/2014/main" id="{267B3F27-E6E6-124F-BB7A-D705DD1430E2}"/>
              </a:ext>
            </a:extLst>
          </p:cNvPr>
          <p:cNvSpPr>
            <a:spLocks noGrp="1"/>
          </p:cNvSpPr>
          <p:nvPr>
            <p:ph type="body" sz="quarter" idx="13" hasCustomPrompt="1"/>
          </p:nvPr>
        </p:nvSpPr>
        <p:spPr>
          <a:xfrm>
            <a:off x="383118" y="6158975"/>
            <a:ext cx="500137" cy="110800"/>
          </a:xfrm>
        </p:spPr>
        <p:txBody>
          <a:bodyPr wrap="none" anchor="b" anchorCtr="0">
            <a:spAutoFit/>
          </a:bodyPr>
          <a:lstStyle>
            <a:lvl1pPr>
              <a:lnSpc>
                <a:spcPct val="90000"/>
              </a:lnSpc>
              <a:spcBef>
                <a:spcPts val="0"/>
              </a:spcBef>
              <a:defRPr sz="800">
                <a:solidFill>
                  <a:schemeClr val="accent4"/>
                </a:solidFill>
              </a:defRPr>
            </a:lvl1pPr>
          </a:lstStyle>
          <a:p>
            <a:r>
              <a:rPr lang="en-US" noProof="0"/>
              <a:t>Insert note</a:t>
            </a:r>
          </a:p>
        </p:txBody>
      </p:sp>
    </p:spTree>
    <p:extLst>
      <p:ext uri="{BB962C8B-B14F-4D97-AF65-F5344CB8AC3E}">
        <p14:creationId xmlns:p14="http://schemas.microsoft.com/office/powerpoint/2010/main" val="764946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8_BLUE_Title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5DEED-A00F-432E-919B-A31AE102E4CC}"/>
              </a:ext>
            </a:extLst>
          </p:cNvPr>
          <p:cNvSpPr>
            <a:spLocks noGrp="1"/>
          </p:cNvSpPr>
          <p:nvPr>
            <p:ph type="ctrTitle"/>
          </p:nvPr>
        </p:nvSpPr>
        <p:spPr>
          <a:xfrm>
            <a:off x="381000" y="1485900"/>
            <a:ext cx="5905500" cy="2387600"/>
          </a:xfrm>
        </p:spPr>
        <p:txBody>
          <a:bodyPr anchor="t" anchorCtr="0"/>
          <a:lstStyle>
            <a:lvl1pPr algn="l">
              <a:lnSpc>
                <a:spcPts val="5800"/>
              </a:lnSpc>
              <a:defRPr sz="5600">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232A637-F57B-4008-8DC2-4D2B8ECC1A66}"/>
              </a:ext>
            </a:extLst>
          </p:cNvPr>
          <p:cNvSpPr>
            <a:spLocks noGrp="1"/>
          </p:cNvSpPr>
          <p:nvPr>
            <p:ph type="subTitle" idx="1"/>
          </p:nvPr>
        </p:nvSpPr>
        <p:spPr>
          <a:xfrm>
            <a:off x="381000" y="3965575"/>
            <a:ext cx="5905500" cy="1655762"/>
          </a:xfrm>
        </p:spPr>
        <p:txBody>
          <a:bodyPr anchor="t" anchorCtr="0"/>
          <a:lstStyle>
            <a:lvl1pPr marL="0" indent="0" algn="l">
              <a:lnSpc>
                <a:spcPts val="3400"/>
              </a:lnSpc>
              <a:spcBef>
                <a:spcPts val="0"/>
              </a:spcBef>
              <a:spcAft>
                <a:spcPts val="1400"/>
              </a:spcAft>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F28916-E41E-452F-9B34-7E89E62D1E1C}"/>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7B33527C-FD6A-48E0-9169-D4E667187306}"/>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44BDB463-6DCC-46BE-9A89-4005136837C3}"/>
              </a:ext>
            </a:extLst>
          </p:cNvPr>
          <p:cNvSpPr>
            <a:spLocks noGrp="1"/>
          </p:cNvSpPr>
          <p:nvPr>
            <p:ph type="sldNum" sz="quarter" idx="12"/>
          </p:nvPr>
        </p:nvSpPr>
        <p:spPr/>
        <p:txBody>
          <a:bodyPr/>
          <a:lstStyle/>
          <a:p>
            <a:fld id="{1A9E565A-6679-4A67-8FB7-14EA342FD6E1}" type="slidenum">
              <a:rPr lang="en-US" smtClean="0"/>
              <a:t>‹N°›</a:t>
            </a:fld>
            <a:endParaRPr lang="en-US"/>
          </a:p>
        </p:txBody>
      </p:sp>
      <p:sp>
        <p:nvSpPr>
          <p:cNvPr id="7" name="Freeform 5">
            <a:extLst>
              <a:ext uri="{FF2B5EF4-FFF2-40B4-BE49-F238E27FC236}">
                <a16:creationId xmlns:a16="http://schemas.microsoft.com/office/drawing/2014/main" id="{25A84E93-9D8D-4CD7-A82F-CB0E0D50D49F}"/>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1533405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oleObject" Target="../embeddings/oleObject3.bin"/><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tags" Target="../tags/tag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717DA10-5126-8A44-0A08-1DB38DF2E5F8}"/>
              </a:ext>
            </a:extLst>
          </p:cNvPr>
          <p:cNvGraphicFramePr>
            <a:graphicFrameLocks noChangeAspect="1"/>
          </p:cNvGraphicFramePr>
          <p:nvPr userDrawn="1">
            <p:custDataLst>
              <p:tags r:id="rId10"/>
            </p:custDataLst>
            <p:extLst>
              <p:ext uri="{D42A27DB-BD31-4B8C-83A1-F6EECF244321}">
                <p14:modId xmlns:p14="http://schemas.microsoft.com/office/powerpoint/2010/main" val="191710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8" name="think-cell data - do not delete" hidden="1">
                        <a:extLst>
                          <a:ext uri="{FF2B5EF4-FFF2-40B4-BE49-F238E27FC236}">
                            <a16:creationId xmlns:a16="http://schemas.microsoft.com/office/drawing/2014/main" id="{9717DA10-5126-8A44-0A08-1DB38DF2E5F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71DE7C4-EADF-49A5-94C9-295DA7102A36}"/>
              </a:ext>
            </a:extLst>
          </p:cNvPr>
          <p:cNvSpPr>
            <a:spLocks noGrp="1"/>
          </p:cNvSpPr>
          <p:nvPr>
            <p:ph type="title"/>
          </p:nvPr>
        </p:nvSpPr>
        <p:spPr>
          <a:xfrm>
            <a:off x="381000" y="365125"/>
            <a:ext cx="11429324" cy="60939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6015A1F1-8128-4C7E-90C2-0A9DA95A353A}"/>
              </a:ext>
            </a:extLst>
          </p:cNvPr>
          <p:cNvSpPr>
            <a:spLocks noGrp="1"/>
          </p:cNvSpPr>
          <p:nvPr>
            <p:ph type="body" idx="1"/>
          </p:nvPr>
        </p:nvSpPr>
        <p:spPr>
          <a:xfrm>
            <a:off x="380999" y="1485900"/>
            <a:ext cx="11429325" cy="4267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5D38B6-3878-4DD8-B8F9-92C491ABF8F5}"/>
              </a:ext>
            </a:extLst>
          </p:cNvPr>
          <p:cNvSpPr>
            <a:spLocks noGrp="1"/>
          </p:cNvSpPr>
          <p:nvPr>
            <p:ph type="dt" sz="half" idx="2"/>
          </p:nvPr>
        </p:nvSpPr>
        <p:spPr>
          <a:xfrm>
            <a:off x="6286500" y="6162324"/>
            <a:ext cx="2743200" cy="365125"/>
          </a:xfrm>
          <a:prstGeom prst="rect">
            <a:avLst/>
          </a:prstGeom>
        </p:spPr>
        <p:txBody>
          <a:bodyPr vert="horz" lIns="0" tIns="0" rIns="0" bIns="0" rtlCol="0" anchor="b" anchorCtr="0"/>
          <a:lstStyle>
            <a:lvl1pPr algn="l">
              <a:defRPr sz="1400">
                <a:solidFill>
                  <a:schemeClr val="accent1"/>
                </a:solidFill>
              </a:defRPr>
            </a:lvl1pPr>
          </a:lstStyle>
          <a:p>
            <a:r>
              <a:rPr lang="de-DE"/>
              <a:t>02 November 2025</a:t>
            </a:r>
            <a:endParaRPr lang="en-US"/>
          </a:p>
        </p:txBody>
      </p:sp>
      <p:sp>
        <p:nvSpPr>
          <p:cNvPr id="5" name="Footer Placeholder 4">
            <a:extLst>
              <a:ext uri="{FF2B5EF4-FFF2-40B4-BE49-F238E27FC236}">
                <a16:creationId xmlns:a16="http://schemas.microsoft.com/office/drawing/2014/main" id="{77054503-8F56-486A-BEEB-415EA4A643B4}"/>
              </a:ext>
            </a:extLst>
          </p:cNvPr>
          <p:cNvSpPr>
            <a:spLocks noGrp="1"/>
          </p:cNvSpPr>
          <p:nvPr>
            <p:ph type="ftr" sz="quarter" idx="3"/>
          </p:nvPr>
        </p:nvSpPr>
        <p:spPr>
          <a:xfrm>
            <a:off x="955370" y="6162324"/>
            <a:ext cx="4950130" cy="365125"/>
          </a:xfrm>
          <a:prstGeom prst="rect">
            <a:avLst/>
          </a:prstGeom>
        </p:spPr>
        <p:txBody>
          <a:bodyPr vert="horz" lIns="0" tIns="0" rIns="0" bIns="0" rtlCol="0" anchor="b" anchorCtr="0"/>
          <a:lstStyle>
            <a:lvl1pPr algn="l">
              <a:defRPr sz="1400">
                <a:solidFill>
                  <a:schemeClr val="accent1"/>
                </a:solidFill>
              </a:defRPr>
            </a:lvl1pPr>
          </a:lstStyle>
          <a:p>
            <a:r>
              <a:rPr lang="en-US"/>
              <a:t>APMWG</a:t>
            </a:r>
          </a:p>
        </p:txBody>
      </p:sp>
      <p:sp>
        <p:nvSpPr>
          <p:cNvPr id="6" name="Slide Number Placeholder 5">
            <a:extLst>
              <a:ext uri="{FF2B5EF4-FFF2-40B4-BE49-F238E27FC236}">
                <a16:creationId xmlns:a16="http://schemas.microsoft.com/office/drawing/2014/main" id="{CC259C21-CE9A-4D3A-AB80-ABF8F4D8A7F2}"/>
              </a:ext>
            </a:extLst>
          </p:cNvPr>
          <p:cNvSpPr>
            <a:spLocks noGrp="1"/>
          </p:cNvSpPr>
          <p:nvPr>
            <p:ph type="sldNum" sz="quarter" idx="4"/>
          </p:nvPr>
        </p:nvSpPr>
        <p:spPr>
          <a:xfrm>
            <a:off x="381000" y="6162324"/>
            <a:ext cx="457200" cy="365125"/>
          </a:xfrm>
          <a:prstGeom prst="rect">
            <a:avLst/>
          </a:prstGeom>
        </p:spPr>
        <p:txBody>
          <a:bodyPr vert="horz" lIns="0" tIns="0" rIns="0" bIns="0" rtlCol="0" anchor="b" anchorCtr="0"/>
          <a:lstStyle>
            <a:lvl1pPr algn="l">
              <a:defRPr sz="1400">
                <a:solidFill>
                  <a:schemeClr val="accent1"/>
                </a:solidFill>
              </a:defRPr>
            </a:lvl1pPr>
          </a:lstStyle>
          <a:p>
            <a:fld id="{1A9E565A-6679-4A67-8FB7-14EA342FD6E1}" type="slidenum">
              <a:rPr lang="en-US" smtClean="0"/>
              <a:pPr/>
              <a:t>‹N°›</a:t>
            </a:fld>
            <a:endParaRPr lang="en-US"/>
          </a:p>
        </p:txBody>
      </p:sp>
    </p:spTree>
    <p:extLst>
      <p:ext uri="{BB962C8B-B14F-4D97-AF65-F5344CB8AC3E}">
        <p14:creationId xmlns:p14="http://schemas.microsoft.com/office/powerpoint/2010/main" val="3232202241"/>
      </p:ext>
    </p:extLst>
  </p:cSld>
  <p:clrMap bg1="lt1" tx1="dk1" bg2="lt2" tx2="dk2" accent1="accent1" accent2="accent2" accent3="accent3" accent4="accent4" accent5="accent5" accent6="accent6" hlink="hlink" folHlink="folHlink"/>
  <p:sldLayoutIdLst>
    <p:sldLayoutId id="2147483899" r:id="rId1"/>
    <p:sldLayoutId id="2147483650" r:id="rId2"/>
    <p:sldLayoutId id="2147483652" r:id="rId3"/>
    <p:sldLayoutId id="2147483654" r:id="rId4"/>
    <p:sldLayoutId id="2147483655" r:id="rId5"/>
    <p:sldLayoutId id="2147483791" r:id="rId6"/>
    <p:sldLayoutId id="2147483901" r:id="rId7"/>
    <p:sldLayoutId id="2147483926" r:id="rId8"/>
  </p:sldLayoutIdLst>
  <p:transition>
    <p:fade/>
  </p:transition>
  <p:hf hdr="0"/>
  <p:txStyles>
    <p:titleStyle>
      <a:lvl1pPr algn="l" defTabSz="914400" rtl="0" eaLnBrk="1" latinLnBrk="0" hangingPunct="1">
        <a:lnSpc>
          <a:spcPct val="90000"/>
        </a:lnSpc>
        <a:spcBef>
          <a:spcPct val="0"/>
        </a:spcBef>
        <a:buNone/>
        <a:defRPr sz="4400" kern="1200">
          <a:solidFill>
            <a:schemeClr val="accent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600" kern="1200">
          <a:solidFill>
            <a:schemeClr val="tx1"/>
          </a:solidFill>
          <a:latin typeface="+mn-lt"/>
          <a:ea typeface="+mn-ea"/>
          <a:cs typeface="+mn-cs"/>
        </a:defRPr>
      </a:lvl1pPr>
      <a:lvl2pPr marL="51435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798513"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3pPr>
      <a:lvl4pPr marL="1201738"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5pPr>
      <a:lvl6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6pPr>
      <a:lvl7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7pPr>
      <a:lvl8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8pPr>
      <a:lvl9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40" userDrawn="1">
          <p15:clr>
            <a:srgbClr val="5ACBF0"/>
          </p15:clr>
        </p15:guide>
        <p15:guide id="4" pos="240" userDrawn="1">
          <p15:clr>
            <a:srgbClr val="5ACBF0"/>
          </p15:clr>
        </p15:guide>
        <p15:guide id="5" pos="7440" userDrawn="1">
          <p15:clr>
            <a:srgbClr val="5ACBF0"/>
          </p15:clr>
        </p15:guide>
        <p15:guide id="6" pos="3720" userDrawn="1">
          <p15:clr>
            <a:srgbClr val="5ACBF0"/>
          </p15:clr>
        </p15:guide>
        <p15:guide id="7" pos="3960" userDrawn="1">
          <p15:clr>
            <a:srgbClr val="5ACBF0"/>
          </p15:clr>
        </p15:guide>
        <p15:guide id="8" orient="horz" pos="528" userDrawn="1">
          <p15:clr>
            <a:srgbClr val="5ACBF0"/>
          </p15:clr>
        </p15:guide>
        <p15:guide id="9" orient="horz" pos="936" userDrawn="1">
          <p15:clr>
            <a:srgbClr val="5ACBF0"/>
          </p15:clr>
        </p15:guide>
        <p15:guide id="10" orient="horz" pos="3624" userDrawn="1">
          <p15:clr>
            <a:srgbClr val="5ACBF0"/>
          </p15:clr>
        </p15:guide>
        <p15:guide id="11" orient="horz" pos="4080" userDrawn="1">
          <p15:clr>
            <a:srgbClr val="5ACBF0"/>
          </p15:clr>
        </p15:guide>
        <p15:guide id="12" orient="horz" pos="1200"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9B7F6D0-25DC-37D2-9FFC-FB224B3F318C}"/>
              </a:ext>
            </a:extLst>
          </p:cNvPr>
          <p:cNvGraphicFramePr>
            <a:graphicFrameLocks noChangeAspect="1"/>
          </p:cNvGraphicFramePr>
          <p:nvPr userDrawn="1">
            <p:custDataLst>
              <p:tags r:id="rId25"/>
            </p:custDataLst>
            <p:extLst>
              <p:ext uri="{D42A27DB-BD31-4B8C-83A1-F6EECF244321}">
                <p14:modId xmlns:p14="http://schemas.microsoft.com/office/powerpoint/2010/main" val="73816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92" imgH="595" progId="TCLayout.ActiveDocument.1">
                  <p:embed/>
                </p:oleObj>
              </mc:Choice>
              <mc:Fallback>
                <p:oleObj name="think-cell Slide" r:id="rId26" imgW="592" imgH="595" progId="TCLayout.ActiveDocument.1">
                  <p:embed/>
                  <p:pic>
                    <p:nvPicPr>
                      <p:cNvPr id="9" name="think-cell data - do not delete" hidden="1">
                        <a:extLst>
                          <a:ext uri="{FF2B5EF4-FFF2-40B4-BE49-F238E27FC236}">
                            <a16:creationId xmlns:a16="http://schemas.microsoft.com/office/drawing/2014/main" id="{F9B7F6D0-25DC-37D2-9FFC-FB224B3F318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71DE7C4-EADF-49A5-94C9-295DA7102A36}"/>
              </a:ext>
            </a:extLst>
          </p:cNvPr>
          <p:cNvSpPr>
            <a:spLocks noGrp="1"/>
          </p:cNvSpPr>
          <p:nvPr>
            <p:ph type="title"/>
          </p:nvPr>
        </p:nvSpPr>
        <p:spPr>
          <a:xfrm>
            <a:off x="381000" y="365125"/>
            <a:ext cx="11429324" cy="60939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6015A1F1-8128-4C7E-90C2-0A9DA95A353A}"/>
              </a:ext>
            </a:extLst>
          </p:cNvPr>
          <p:cNvSpPr>
            <a:spLocks noGrp="1"/>
          </p:cNvSpPr>
          <p:nvPr>
            <p:ph type="body" idx="1"/>
          </p:nvPr>
        </p:nvSpPr>
        <p:spPr>
          <a:xfrm>
            <a:off x="380999" y="1485900"/>
            <a:ext cx="11429325" cy="42672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5D38B6-3878-4DD8-B8F9-92C491ABF8F5}"/>
              </a:ext>
            </a:extLst>
          </p:cNvPr>
          <p:cNvSpPr>
            <a:spLocks noGrp="1"/>
          </p:cNvSpPr>
          <p:nvPr>
            <p:ph type="dt" sz="half" idx="2"/>
          </p:nvPr>
        </p:nvSpPr>
        <p:spPr>
          <a:xfrm>
            <a:off x="6096000" y="6162324"/>
            <a:ext cx="2743200" cy="365125"/>
          </a:xfrm>
          <a:prstGeom prst="rect">
            <a:avLst/>
          </a:prstGeom>
        </p:spPr>
        <p:txBody>
          <a:bodyPr vert="horz" lIns="0" tIns="0" rIns="0" bIns="0" rtlCol="0" anchor="b" anchorCtr="0"/>
          <a:lstStyle>
            <a:lvl1pPr algn="l">
              <a:defRPr sz="1400">
                <a:solidFill>
                  <a:schemeClr val="bg1"/>
                </a:solidFill>
              </a:defRPr>
            </a:lvl1pPr>
          </a:lstStyle>
          <a:p>
            <a:r>
              <a:rPr lang="de-DE"/>
              <a:t>02 November 2025</a:t>
            </a:r>
            <a:endParaRPr lang="en-US"/>
          </a:p>
        </p:txBody>
      </p:sp>
      <p:sp>
        <p:nvSpPr>
          <p:cNvPr id="5" name="Footer Placeholder 4">
            <a:extLst>
              <a:ext uri="{FF2B5EF4-FFF2-40B4-BE49-F238E27FC236}">
                <a16:creationId xmlns:a16="http://schemas.microsoft.com/office/drawing/2014/main" id="{77054503-8F56-486A-BEEB-415EA4A643B4}"/>
              </a:ext>
            </a:extLst>
          </p:cNvPr>
          <p:cNvSpPr>
            <a:spLocks noGrp="1"/>
          </p:cNvSpPr>
          <p:nvPr>
            <p:ph type="ftr" sz="quarter" idx="3"/>
          </p:nvPr>
        </p:nvSpPr>
        <p:spPr>
          <a:xfrm>
            <a:off x="955370" y="6162324"/>
            <a:ext cx="4950130" cy="365125"/>
          </a:xfrm>
          <a:prstGeom prst="rect">
            <a:avLst/>
          </a:prstGeom>
        </p:spPr>
        <p:txBody>
          <a:bodyPr vert="horz" lIns="0" tIns="0" rIns="0" bIns="0" rtlCol="0" anchor="b" anchorCtr="0"/>
          <a:lstStyle>
            <a:lvl1pPr algn="l">
              <a:defRPr sz="1400">
                <a:solidFill>
                  <a:schemeClr val="bg1"/>
                </a:solidFill>
              </a:defRPr>
            </a:lvl1pPr>
          </a:lstStyle>
          <a:p>
            <a:r>
              <a:rPr lang="en-US"/>
              <a:t>APMWG</a:t>
            </a:r>
          </a:p>
        </p:txBody>
      </p:sp>
      <p:sp>
        <p:nvSpPr>
          <p:cNvPr id="6" name="Slide Number Placeholder 5">
            <a:extLst>
              <a:ext uri="{FF2B5EF4-FFF2-40B4-BE49-F238E27FC236}">
                <a16:creationId xmlns:a16="http://schemas.microsoft.com/office/drawing/2014/main" id="{CC259C21-CE9A-4D3A-AB80-ABF8F4D8A7F2}"/>
              </a:ext>
            </a:extLst>
          </p:cNvPr>
          <p:cNvSpPr>
            <a:spLocks noGrp="1"/>
          </p:cNvSpPr>
          <p:nvPr>
            <p:ph type="sldNum" sz="quarter" idx="4"/>
          </p:nvPr>
        </p:nvSpPr>
        <p:spPr>
          <a:xfrm>
            <a:off x="381000" y="6162324"/>
            <a:ext cx="457200" cy="365125"/>
          </a:xfrm>
          <a:prstGeom prst="rect">
            <a:avLst/>
          </a:prstGeom>
        </p:spPr>
        <p:txBody>
          <a:bodyPr vert="horz" lIns="0" tIns="0" rIns="0" bIns="0" rtlCol="0" anchor="b" anchorCtr="0"/>
          <a:lstStyle>
            <a:lvl1pPr algn="l">
              <a:defRPr sz="1400">
                <a:solidFill>
                  <a:schemeClr val="bg1"/>
                </a:solidFill>
              </a:defRPr>
            </a:lvl1pPr>
          </a:lstStyle>
          <a:p>
            <a:fld id="{1A9E565A-6679-4A67-8FB7-14EA342FD6E1}" type="slidenum">
              <a:rPr lang="en-US" smtClean="0"/>
              <a:pPr/>
              <a:t>‹N°›</a:t>
            </a:fld>
            <a:endParaRPr lang="en-US"/>
          </a:p>
        </p:txBody>
      </p:sp>
      <p:sp>
        <p:nvSpPr>
          <p:cNvPr id="7" name="Freeform 5">
            <a:extLst>
              <a:ext uri="{FF2B5EF4-FFF2-40B4-BE49-F238E27FC236}">
                <a16:creationId xmlns:a16="http://schemas.microsoft.com/office/drawing/2014/main" id="{F1F43C8B-C639-4F25-87E2-3EECF8B9D3D9}"/>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tx1"/>
              </a:solidFill>
            </a:endParaRPr>
          </a:p>
        </p:txBody>
      </p:sp>
    </p:spTree>
    <p:extLst>
      <p:ext uri="{BB962C8B-B14F-4D97-AF65-F5344CB8AC3E}">
        <p14:creationId xmlns:p14="http://schemas.microsoft.com/office/powerpoint/2010/main" val="15072671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Lst>
  <p:transition>
    <p:fade/>
  </p:transition>
  <p:hf hdr="0"/>
  <p:txStyles>
    <p:titleStyle>
      <a:lvl1pPr algn="l" defTabSz="914400" rtl="0" eaLnBrk="1" latinLnBrk="0" hangingPunct="1">
        <a:lnSpc>
          <a:spcPct val="90000"/>
        </a:lnSpc>
        <a:spcBef>
          <a:spcPct val="0"/>
        </a:spcBef>
        <a:buNone/>
        <a:defRPr sz="4400"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600" kern="1200">
          <a:solidFill>
            <a:schemeClr val="bg1"/>
          </a:solidFill>
          <a:latin typeface="+mn-lt"/>
          <a:ea typeface="+mn-ea"/>
          <a:cs typeface="+mn-cs"/>
        </a:defRPr>
      </a:lvl1pPr>
      <a:lvl2pPr marL="515938" indent="-228600" algn="l" defTabSz="914400" rtl="0" eaLnBrk="1" latinLnBrk="0" hangingPunct="1">
        <a:lnSpc>
          <a:spcPct val="90000"/>
        </a:lnSpc>
        <a:spcBef>
          <a:spcPts val="500"/>
        </a:spcBef>
        <a:buFont typeface="Aktiv Grotesk" panose="020B0504020202020204" pitchFamily="34" charset="0"/>
        <a:buChar char="•"/>
        <a:defRPr sz="2400" kern="1200">
          <a:solidFill>
            <a:schemeClr val="bg1"/>
          </a:solidFill>
          <a:latin typeface="+mn-lt"/>
          <a:ea typeface="+mn-ea"/>
          <a:cs typeface="+mn-cs"/>
        </a:defRPr>
      </a:lvl2pPr>
      <a:lvl3pPr marL="798513"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bg1"/>
          </a:solidFill>
          <a:latin typeface="+mn-lt"/>
          <a:ea typeface="+mn-ea"/>
          <a:cs typeface="+mn-cs"/>
        </a:defRPr>
      </a:lvl3pPr>
      <a:lvl4pPr marL="1201738"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bg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240">
          <p15:clr>
            <a:srgbClr val="5ACBF0"/>
          </p15:clr>
        </p15:guide>
        <p15:guide id="4" pos="240">
          <p15:clr>
            <a:srgbClr val="5ACBF0"/>
          </p15:clr>
        </p15:guide>
        <p15:guide id="5" pos="7440">
          <p15:clr>
            <a:srgbClr val="5ACBF0"/>
          </p15:clr>
        </p15:guide>
        <p15:guide id="6" pos="3720">
          <p15:clr>
            <a:srgbClr val="5ACBF0"/>
          </p15:clr>
        </p15:guide>
        <p15:guide id="7" pos="3960">
          <p15:clr>
            <a:srgbClr val="5ACBF0"/>
          </p15:clr>
        </p15:guide>
        <p15:guide id="8" orient="horz" pos="528">
          <p15:clr>
            <a:srgbClr val="5ACBF0"/>
          </p15:clr>
        </p15:guide>
        <p15:guide id="9" orient="horz" pos="936">
          <p15:clr>
            <a:srgbClr val="5ACBF0"/>
          </p15:clr>
        </p15:guide>
        <p15:guide id="10" orient="horz" pos="3624">
          <p15:clr>
            <a:srgbClr val="5ACBF0"/>
          </p15:clr>
        </p15:guide>
        <p15:guide id="11" orient="horz" pos="4080">
          <p15:clr>
            <a:srgbClr val="5ACBF0"/>
          </p15:clr>
        </p15:guide>
        <p15:guide id="12" orient="horz" pos="12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4.xml"/><Relationship Id="rId7"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6.bin"/><Relationship Id="rId4" Type="http://schemas.microsoft.com/office/2018/10/relationships/comments" Target="../comments/modernComment_7FFFFFF3_8CF446FE.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9.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6.xml"/><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7.xml"/><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8.bin"/><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8.xml"/><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tags" Target="../tags/tag13.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22.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tags" Target="../tags/tag17.xml"/><Relationship Id="rId5" Type="http://schemas.openxmlformats.org/officeDocument/2006/relationships/image" Target="../media/image25.jpe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5.svg"/></Relationships>
</file>

<file path=ppt/slides/_rels/slide6.xml.rels><?xml version="1.0" encoding="UTF-8" standalone="yes"?>
<Relationships xmlns="http://schemas.openxmlformats.org/package/2006/relationships"><Relationship Id="rId2" Type="http://schemas.microsoft.com/office/2018/10/relationships/comments" Target="../comments/modernComment_100_0.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microsoft.com/office/2018/10/relationships/comments" Target="../comments/modernComment_7FFFD783_F9F13479.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5.bin"/><Relationship Id="rId4" Type="http://schemas.microsoft.com/office/2018/10/relationships/comments" Target="../comments/modernComment_7FFFFFF2_213D9A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group of people looking at a graph&#10;&#10;AI-generated content may be incorrect.">
            <a:extLst>
              <a:ext uri="{FF2B5EF4-FFF2-40B4-BE49-F238E27FC236}">
                <a16:creationId xmlns:a16="http://schemas.microsoft.com/office/drawing/2014/main" id="{6E44BC70-FE8B-B90F-CF13-AE1789C2BF3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9744" r="27528" b="15316"/>
          <a:stretch>
            <a:fillRect/>
          </a:stretch>
        </p:blipFill>
        <p:spPr>
          <a:xfrm>
            <a:off x="6438900" y="0"/>
            <a:ext cx="5753100" cy="5753100"/>
          </a:xfrm>
        </p:spPr>
      </p:pic>
      <p:sp>
        <p:nvSpPr>
          <p:cNvPr id="2" name="Title 1">
            <a:extLst>
              <a:ext uri="{FF2B5EF4-FFF2-40B4-BE49-F238E27FC236}">
                <a16:creationId xmlns:a16="http://schemas.microsoft.com/office/drawing/2014/main" id="{9073E93E-994F-4F4B-82B5-AF753BAE199C}"/>
              </a:ext>
            </a:extLst>
          </p:cNvPr>
          <p:cNvSpPr>
            <a:spLocks noGrp="1"/>
          </p:cNvSpPr>
          <p:nvPr>
            <p:ph type="title"/>
          </p:nvPr>
        </p:nvSpPr>
        <p:spPr/>
        <p:txBody>
          <a:bodyPr anchor="ctr">
            <a:normAutofit/>
          </a:bodyPr>
          <a:lstStyle/>
          <a:p>
            <a:pPr>
              <a:lnSpc>
                <a:spcPct val="150000"/>
              </a:lnSpc>
            </a:pPr>
            <a:r>
              <a:rPr lang="en-US" sz="3200"/>
              <a:t>Airline Product Management Working Group Update</a:t>
            </a:r>
            <a:br>
              <a:rPr lang="en-US" sz="3200"/>
            </a:br>
            <a:endParaRPr lang="en-US" sz="3200" dirty="0"/>
          </a:p>
        </p:txBody>
      </p:sp>
      <p:sp>
        <p:nvSpPr>
          <p:cNvPr id="3" name="Subtitle 2">
            <a:extLst>
              <a:ext uri="{FF2B5EF4-FFF2-40B4-BE49-F238E27FC236}">
                <a16:creationId xmlns:a16="http://schemas.microsoft.com/office/drawing/2014/main" id="{55A844BD-F7EB-7895-E3AA-AA3381D35060}"/>
              </a:ext>
            </a:extLst>
          </p:cNvPr>
          <p:cNvSpPr>
            <a:spLocks noGrp="1"/>
          </p:cNvSpPr>
          <p:nvPr>
            <p:ph sz="half" idx="1"/>
          </p:nvPr>
        </p:nvSpPr>
        <p:spPr/>
        <p:txBody>
          <a:bodyPr/>
          <a:lstStyle/>
          <a:p>
            <a:r>
              <a:rPr lang="en-US" sz="2800"/>
              <a:t>02 November 2025</a:t>
            </a:r>
            <a:endParaRPr lang="en-US" sz="2800" dirty="0"/>
          </a:p>
        </p:txBody>
      </p:sp>
      <p:sp>
        <p:nvSpPr>
          <p:cNvPr id="16" name="Date Placeholder 15">
            <a:extLst>
              <a:ext uri="{FF2B5EF4-FFF2-40B4-BE49-F238E27FC236}">
                <a16:creationId xmlns:a16="http://schemas.microsoft.com/office/drawing/2014/main" id="{7CE0CA1E-4A12-CECA-F5D2-F9CFF5A848F7}"/>
              </a:ext>
            </a:extLst>
          </p:cNvPr>
          <p:cNvSpPr>
            <a:spLocks noGrp="1"/>
          </p:cNvSpPr>
          <p:nvPr>
            <p:ph type="dt" sz="half" idx="10"/>
          </p:nvPr>
        </p:nvSpPr>
        <p:spPr/>
        <p:txBody>
          <a:bodyPr/>
          <a:lstStyle/>
          <a:p>
            <a:r>
              <a:rPr lang="de-DE"/>
              <a:t>02 November 2025</a:t>
            </a:r>
            <a:endParaRPr lang="en-US"/>
          </a:p>
        </p:txBody>
      </p:sp>
      <p:sp>
        <p:nvSpPr>
          <p:cNvPr id="17" name="Footer Placeholder 16">
            <a:extLst>
              <a:ext uri="{FF2B5EF4-FFF2-40B4-BE49-F238E27FC236}">
                <a16:creationId xmlns:a16="http://schemas.microsoft.com/office/drawing/2014/main" id="{9AEF5A6E-3624-03F7-DF1E-6DC34DD76792}"/>
              </a:ext>
            </a:extLst>
          </p:cNvPr>
          <p:cNvSpPr>
            <a:spLocks noGrp="1"/>
          </p:cNvSpPr>
          <p:nvPr>
            <p:ph type="ftr" sz="quarter" idx="11"/>
          </p:nvPr>
        </p:nvSpPr>
        <p:spPr/>
        <p:txBody>
          <a:bodyPr/>
          <a:lstStyle/>
          <a:p>
            <a:r>
              <a:rPr lang="en-US"/>
              <a:t>APMWG</a:t>
            </a:r>
          </a:p>
        </p:txBody>
      </p:sp>
      <p:sp>
        <p:nvSpPr>
          <p:cNvPr id="18" name="Slide Number Placeholder 17">
            <a:extLst>
              <a:ext uri="{FF2B5EF4-FFF2-40B4-BE49-F238E27FC236}">
                <a16:creationId xmlns:a16="http://schemas.microsoft.com/office/drawing/2014/main" id="{5F675477-D9DB-7A86-0EDF-73FC8F4BBC45}"/>
              </a:ext>
            </a:extLst>
          </p:cNvPr>
          <p:cNvSpPr>
            <a:spLocks noGrp="1"/>
          </p:cNvSpPr>
          <p:nvPr>
            <p:ph type="sldNum" sz="quarter" idx="12"/>
          </p:nvPr>
        </p:nvSpPr>
        <p:spPr/>
        <p:txBody>
          <a:bodyPr/>
          <a:lstStyle/>
          <a:p>
            <a:fld id="{1A9E565A-6679-4A67-8FB7-14EA342FD6E1}" type="slidenum">
              <a:rPr lang="en-US" smtClean="0"/>
              <a:pPr/>
              <a:t>1</a:t>
            </a:fld>
            <a:endParaRPr lang="en-US"/>
          </a:p>
        </p:txBody>
      </p:sp>
    </p:spTree>
    <p:extLst>
      <p:ext uri="{BB962C8B-B14F-4D97-AF65-F5344CB8AC3E}">
        <p14:creationId xmlns:p14="http://schemas.microsoft.com/office/powerpoint/2010/main" val="147914850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5A6A0-5670-7BAA-2E0C-2D4B27B47991}"/>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500AA94-F01D-4B13-36D8-35112A38B98D}"/>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think-cell data - do not delete" hidden="1">
                        <a:extLst>
                          <a:ext uri="{FF2B5EF4-FFF2-40B4-BE49-F238E27FC236}">
                            <a16:creationId xmlns:a16="http://schemas.microsoft.com/office/drawing/2014/main" id="{7500AA94-F01D-4B13-36D8-35112A38B98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D90440-E7A1-B86B-FA45-ED38329CFF34}"/>
              </a:ext>
            </a:extLst>
          </p:cNvPr>
          <p:cNvSpPr>
            <a:spLocks noGrp="1"/>
          </p:cNvSpPr>
          <p:nvPr>
            <p:ph type="title"/>
          </p:nvPr>
        </p:nvSpPr>
        <p:spPr/>
        <p:txBody>
          <a:bodyPr vert="horz"/>
          <a:lstStyle/>
          <a:p>
            <a:r>
              <a:rPr lang="fr-FR" dirty="0"/>
              <a:t>Airlines </a:t>
            </a:r>
            <a:r>
              <a:rPr lang="fr-FR" dirty="0" err="1"/>
              <a:t>own</a:t>
            </a:r>
            <a:r>
              <a:rPr lang="fr-FR" dirty="0"/>
              <a:t> Product Catalogue vs. </a:t>
            </a:r>
            <a:r>
              <a:rPr lang="fr-FR" dirty="0" err="1"/>
              <a:t>Airline</a:t>
            </a:r>
            <a:r>
              <a:rPr lang="fr-FR" dirty="0"/>
              <a:t> profile</a:t>
            </a:r>
            <a:br>
              <a:rPr lang="en-US" dirty="0"/>
            </a:br>
            <a:br>
              <a:rPr lang="en-US" dirty="0"/>
            </a:br>
            <a:endParaRPr lang="en-US" dirty="0"/>
          </a:p>
        </p:txBody>
      </p:sp>
      <p:sp>
        <p:nvSpPr>
          <p:cNvPr id="38" name="Date Placeholder 37">
            <a:extLst>
              <a:ext uri="{FF2B5EF4-FFF2-40B4-BE49-F238E27FC236}">
                <a16:creationId xmlns:a16="http://schemas.microsoft.com/office/drawing/2014/main" id="{214B315B-EF65-4481-4363-E928CBE5AB77}"/>
              </a:ext>
            </a:extLst>
          </p:cNvPr>
          <p:cNvSpPr>
            <a:spLocks noGrp="1"/>
          </p:cNvSpPr>
          <p:nvPr>
            <p:ph type="dt" sz="half" idx="10"/>
          </p:nvPr>
        </p:nvSpPr>
        <p:spPr/>
        <p:txBody>
          <a:bodyPr/>
          <a:lstStyle/>
          <a:p>
            <a:r>
              <a:rPr lang="de-DE" noProof="0"/>
              <a:t>02 November 2025</a:t>
            </a:r>
            <a:endParaRPr lang="en-US" noProof="0"/>
          </a:p>
        </p:txBody>
      </p:sp>
      <p:sp>
        <p:nvSpPr>
          <p:cNvPr id="39" name="Footer Placeholder 38">
            <a:extLst>
              <a:ext uri="{FF2B5EF4-FFF2-40B4-BE49-F238E27FC236}">
                <a16:creationId xmlns:a16="http://schemas.microsoft.com/office/drawing/2014/main" id="{F9E2B639-D245-AAF8-0C12-80A59B95887E}"/>
              </a:ext>
            </a:extLst>
          </p:cNvPr>
          <p:cNvSpPr>
            <a:spLocks noGrp="1"/>
          </p:cNvSpPr>
          <p:nvPr>
            <p:ph type="ftr" sz="quarter" idx="11"/>
          </p:nvPr>
        </p:nvSpPr>
        <p:spPr/>
        <p:txBody>
          <a:bodyPr/>
          <a:lstStyle/>
          <a:p>
            <a:r>
              <a:rPr lang="en-US" noProof="0"/>
              <a:t>APMWG</a:t>
            </a:r>
          </a:p>
        </p:txBody>
      </p:sp>
      <p:sp>
        <p:nvSpPr>
          <p:cNvPr id="40" name="Slide Number Placeholder 39">
            <a:extLst>
              <a:ext uri="{FF2B5EF4-FFF2-40B4-BE49-F238E27FC236}">
                <a16:creationId xmlns:a16="http://schemas.microsoft.com/office/drawing/2014/main" id="{0AF9FD3E-827F-207D-1223-41BADD21E3FB}"/>
              </a:ext>
            </a:extLst>
          </p:cNvPr>
          <p:cNvSpPr>
            <a:spLocks noGrp="1"/>
          </p:cNvSpPr>
          <p:nvPr>
            <p:ph type="sldNum" sz="quarter" idx="12"/>
          </p:nvPr>
        </p:nvSpPr>
        <p:spPr/>
        <p:txBody>
          <a:bodyPr/>
          <a:lstStyle/>
          <a:p>
            <a:fld id="{67242389-55B8-40B0-97B3-D8452A5F367E}" type="slidenum">
              <a:rPr lang="en-US" noProof="0" smtClean="0"/>
              <a:pPr/>
              <a:t>10</a:t>
            </a:fld>
            <a:endParaRPr lang="en-US" noProof="0" dirty="0"/>
          </a:p>
        </p:txBody>
      </p:sp>
      <p:cxnSp>
        <p:nvCxnSpPr>
          <p:cNvPr id="3" name="Straight Arrow Connector 2">
            <a:extLst>
              <a:ext uri="{FF2B5EF4-FFF2-40B4-BE49-F238E27FC236}">
                <a16:creationId xmlns:a16="http://schemas.microsoft.com/office/drawing/2014/main" id="{32348E57-41F6-5CFD-B7A9-C12BE0715F2B}"/>
              </a:ext>
            </a:extLst>
          </p:cNvPr>
          <p:cNvCxnSpPr>
            <a:cxnSpLocks/>
          </p:cNvCxnSpPr>
          <p:nvPr/>
        </p:nvCxnSpPr>
        <p:spPr>
          <a:xfrm>
            <a:off x="3609239" y="9545116"/>
            <a:ext cx="4462005"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8ED76DB-EEF5-7BA2-32B6-3DF7ADFE384A}"/>
              </a:ext>
            </a:extLst>
          </p:cNvPr>
          <p:cNvSpPr/>
          <p:nvPr/>
        </p:nvSpPr>
        <p:spPr>
          <a:xfrm>
            <a:off x="8056785" y="7081161"/>
            <a:ext cx="2440472" cy="463408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marL="228594" indent="-228594">
              <a:spcBef>
                <a:spcPts val="800"/>
              </a:spcBef>
              <a:buSzPct val="90000"/>
              <a:buFont typeface="Wingdings" panose="05000000000000000000" pitchFamily="2" charset="2"/>
              <a:buChar char="§"/>
            </a:pPr>
            <a:endParaRPr lang="en-GB" sz="1600" err="1">
              <a:solidFill>
                <a:schemeClr val="tx1"/>
              </a:solidFill>
            </a:endParaRPr>
          </a:p>
        </p:txBody>
      </p:sp>
      <p:sp>
        <p:nvSpPr>
          <p:cNvPr id="25" name="Rectangle 24">
            <a:extLst>
              <a:ext uri="{FF2B5EF4-FFF2-40B4-BE49-F238E27FC236}">
                <a16:creationId xmlns:a16="http://schemas.microsoft.com/office/drawing/2014/main" id="{F33D492D-E143-7DE0-51B3-B81D422D131C}"/>
              </a:ext>
            </a:extLst>
          </p:cNvPr>
          <p:cNvSpPr/>
          <p:nvPr/>
        </p:nvSpPr>
        <p:spPr>
          <a:xfrm>
            <a:off x="955370" y="7594808"/>
            <a:ext cx="2908853" cy="3655456"/>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marL="228594" indent="-228594">
              <a:spcBef>
                <a:spcPts val="800"/>
              </a:spcBef>
              <a:buSzPct val="90000"/>
              <a:buFont typeface="Wingdings" panose="05000000000000000000" pitchFamily="2" charset="2"/>
              <a:buChar char="§"/>
            </a:pPr>
            <a:endParaRPr lang="en-GB" sz="1600" err="1">
              <a:solidFill>
                <a:schemeClr val="tx1"/>
              </a:solidFill>
            </a:endParaRPr>
          </a:p>
        </p:txBody>
      </p:sp>
      <p:sp>
        <p:nvSpPr>
          <p:cNvPr id="26" name="TextBox 25">
            <a:extLst>
              <a:ext uri="{FF2B5EF4-FFF2-40B4-BE49-F238E27FC236}">
                <a16:creationId xmlns:a16="http://schemas.microsoft.com/office/drawing/2014/main" id="{A9ED8D64-7674-2E4D-5A4B-0C4373FDA6B7}"/>
              </a:ext>
            </a:extLst>
          </p:cNvPr>
          <p:cNvSpPr txBox="1"/>
          <p:nvPr/>
        </p:nvSpPr>
        <p:spPr>
          <a:xfrm>
            <a:off x="2048173" y="8109930"/>
            <a:ext cx="723249" cy="184666"/>
          </a:xfrm>
          <a:prstGeom prst="rect">
            <a:avLst/>
          </a:prstGeom>
          <a:noFill/>
        </p:spPr>
        <p:txBody>
          <a:bodyPr wrap="square" lIns="0" tIns="0" rIns="0" bIns="0" rtlCol="0">
            <a:spAutoFit/>
          </a:bodyPr>
          <a:lstStyle/>
          <a:p>
            <a:pPr algn="ctr">
              <a:spcBef>
                <a:spcPts val="800"/>
              </a:spcBef>
              <a:buSzPct val="90000"/>
            </a:pPr>
            <a:r>
              <a:rPr lang="en-GB" sz="1200" b="1"/>
              <a:t>Airline A</a:t>
            </a:r>
          </a:p>
        </p:txBody>
      </p:sp>
      <p:sp>
        <p:nvSpPr>
          <p:cNvPr id="27" name="Scroll: Vertical 26">
            <a:extLst>
              <a:ext uri="{FF2B5EF4-FFF2-40B4-BE49-F238E27FC236}">
                <a16:creationId xmlns:a16="http://schemas.microsoft.com/office/drawing/2014/main" id="{E5BE4A3A-05D7-B162-78FD-92624F20E69A}"/>
              </a:ext>
            </a:extLst>
          </p:cNvPr>
          <p:cNvSpPr/>
          <p:nvPr/>
        </p:nvSpPr>
        <p:spPr>
          <a:xfrm>
            <a:off x="1268479" y="9112299"/>
            <a:ext cx="2282635" cy="1936907"/>
          </a:xfrm>
          <a:prstGeom prst="verticalScroll">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a:spcBef>
                <a:spcPts val="800"/>
              </a:spcBef>
              <a:buSzPct val="90000"/>
            </a:pPr>
            <a:r>
              <a:rPr lang="en-GB" sz="933" b="1" dirty="0">
                <a:solidFill>
                  <a:schemeClr val="tx1"/>
                </a:solidFill>
              </a:rPr>
              <a:t>Airlines A’s Product catalogue</a:t>
            </a:r>
          </a:p>
          <a:p>
            <a:pPr marL="228594" indent="-228594">
              <a:spcBef>
                <a:spcPts val="800"/>
              </a:spcBef>
              <a:buSzPct val="90000"/>
              <a:buFont typeface="Wingdings" panose="05000000000000000000" pitchFamily="2" charset="2"/>
              <a:buChar char="§"/>
            </a:pPr>
            <a:r>
              <a:rPr lang="en-GB" sz="933" b="1" dirty="0">
                <a:solidFill>
                  <a:schemeClr val="tx1"/>
                </a:solidFill>
              </a:rPr>
              <a:t>Transport</a:t>
            </a:r>
            <a:r>
              <a:rPr lang="en-GB" sz="933" dirty="0">
                <a:solidFill>
                  <a:schemeClr val="tx1"/>
                </a:solidFill>
              </a:rPr>
              <a:t>: Leg1/Leg2/Leg3</a:t>
            </a:r>
          </a:p>
          <a:p>
            <a:pPr marL="228594" indent="-228594">
              <a:spcBef>
                <a:spcPts val="800"/>
              </a:spcBef>
              <a:buSzPct val="90000"/>
              <a:buFont typeface="Wingdings" panose="05000000000000000000" pitchFamily="2" charset="2"/>
              <a:buChar char="§"/>
            </a:pPr>
            <a:r>
              <a:rPr lang="en-GB" sz="933" b="1" dirty="0">
                <a:solidFill>
                  <a:schemeClr val="tx1"/>
                </a:solidFill>
              </a:rPr>
              <a:t>Lounge</a:t>
            </a:r>
            <a:r>
              <a:rPr lang="en-GB" sz="933" dirty="0">
                <a:solidFill>
                  <a:schemeClr val="tx1"/>
                </a:solidFill>
              </a:rPr>
              <a:t>: Lounge1/Lounge2</a:t>
            </a:r>
          </a:p>
          <a:p>
            <a:pPr marL="228594" indent="-228594">
              <a:spcBef>
                <a:spcPts val="800"/>
              </a:spcBef>
              <a:buSzPct val="90000"/>
              <a:buFont typeface="Wingdings" panose="05000000000000000000" pitchFamily="2" charset="2"/>
              <a:buChar char="§"/>
            </a:pPr>
            <a:r>
              <a:rPr lang="en-GB" sz="933" b="1" dirty="0">
                <a:solidFill>
                  <a:schemeClr val="tx1"/>
                </a:solidFill>
              </a:rPr>
              <a:t>Meal</a:t>
            </a:r>
            <a:r>
              <a:rPr lang="en-GB" sz="933" dirty="0">
                <a:solidFill>
                  <a:schemeClr val="tx1"/>
                </a:solidFill>
              </a:rPr>
              <a:t>: Meal1/Meal2</a:t>
            </a:r>
          </a:p>
          <a:p>
            <a:pPr marL="228594" indent="-228594">
              <a:spcBef>
                <a:spcPts val="800"/>
              </a:spcBef>
              <a:buSzPct val="90000"/>
              <a:buFont typeface="Wingdings" panose="05000000000000000000" pitchFamily="2" charset="2"/>
              <a:buChar char="§"/>
            </a:pPr>
            <a:r>
              <a:rPr lang="en-GB" sz="933" b="1" dirty="0">
                <a:solidFill>
                  <a:schemeClr val="tx1"/>
                </a:solidFill>
              </a:rPr>
              <a:t>Seat</a:t>
            </a:r>
            <a:r>
              <a:rPr lang="en-GB" sz="933" dirty="0">
                <a:solidFill>
                  <a:schemeClr val="tx1"/>
                </a:solidFill>
              </a:rPr>
              <a:t>: Seat1/Seat2/Seat3</a:t>
            </a:r>
          </a:p>
          <a:p>
            <a:pPr marL="228594" indent="-228594">
              <a:spcBef>
                <a:spcPts val="800"/>
              </a:spcBef>
              <a:buSzPct val="90000"/>
              <a:buFont typeface="Wingdings" panose="05000000000000000000" pitchFamily="2" charset="2"/>
              <a:buChar char="§"/>
            </a:pPr>
            <a:r>
              <a:rPr lang="en-GB" sz="933" b="1" dirty="0">
                <a:solidFill>
                  <a:schemeClr val="tx1"/>
                </a:solidFill>
              </a:rPr>
              <a:t>Bag</a:t>
            </a:r>
            <a:r>
              <a:rPr lang="en-GB" sz="933" dirty="0">
                <a:solidFill>
                  <a:schemeClr val="tx1"/>
                </a:solidFill>
              </a:rPr>
              <a:t>: Bag1/Bag2</a:t>
            </a:r>
          </a:p>
          <a:p>
            <a:pPr marL="228594" indent="-228594">
              <a:spcBef>
                <a:spcPts val="800"/>
              </a:spcBef>
              <a:buSzPct val="90000"/>
              <a:buFont typeface="Wingdings" panose="05000000000000000000" pitchFamily="2" charset="2"/>
              <a:buChar char="§"/>
            </a:pPr>
            <a:endParaRPr lang="en-GB" sz="1600" dirty="0">
              <a:solidFill>
                <a:schemeClr val="tx1"/>
              </a:solidFill>
            </a:endParaRPr>
          </a:p>
        </p:txBody>
      </p:sp>
      <p:sp>
        <p:nvSpPr>
          <p:cNvPr id="28" name="Scroll: Vertical 27">
            <a:extLst>
              <a:ext uri="{FF2B5EF4-FFF2-40B4-BE49-F238E27FC236}">
                <a16:creationId xmlns:a16="http://schemas.microsoft.com/office/drawing/2014/main" id="{3DCC6B5A-06C6-AB5E-B11F-56FEFA0050F6}"/>
              </a:ext>
            </a:extLst>
          </p:cNvPr>
          <p:cNvSpPr/>
          <p:nvPr/>
        </p:nvSpPr>
        <p:spPr>
          <a:xfrm>
            <a:off x="4668111" y="9094565"/>
            <a:ext cx="2282635" cy="954159"/>
          </a:xfrm>
          <a:prstGeom prst="verticalScroll">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a:spcBef>
                <a:spcPts val="800"/>
              </a:spcBef>
              <a:buSzPct val="90000"/>
            </a:pPr>
            <a:r>
              <a:rPr lang="en-GB" sz="933" b="1" dirty="0">
                <a:solidFill>
                  <a:schemeClr val="tx1"/>
                </a:solidFill>
              </a:rPr>
              <a:t>Airline profile</a:t>
            </a:r>
          </a:p>
          <a:p>
            <a:pPr marL="228594" indent="-228594">
              <a:spcBef>
                <a:spcPts val="800"/>
              </a:spcBef>
              <a:buSzPct val="90000"/>
              <a:buFont typeface="Wingdings" panose="05000000000000000000" pitchFamily="2" charset="2"/>
              <a:buChar char="§"/>
            </a:pPr>
            <a:r>
              <a:rPr lang="en-GB" sz="933" b="1" dirty="0">
                <a:solidFill>
                  <a:schemeClr val="tx1"/>
                </a:solidFill>
              </a:rPr>
              <a:t>Transport</a:t>
            </a:r>
            <a:r>
              <a:rPr lang="en-GB" sz="933" dirty="0">
                <a:solidFill>
                  <a:schemeClr val="tx1"/>
                </a:solidFill>
              </a:rPr>
              <a:t> : OD1/OD2/OD3</a:t>
            </a:r>
            <a:endParaRPr lang="en-GB" sz="1600" dirty="0">
              <a:solidFill>
                <a:schemeClr val="tx1"/>
              </a:solidFill>
            </a:endParaRPr>
          </a:p>
        </p:txBody>
      </p:sp>
      <p:sp>
        <p:nvSpPr>
          <p:cNvPr id="29" name="TextBox 28">
            <a:extLst>
              <a:ext uri="{FF2B5EF4-FFF2-40B4-BE49-F238E27FC236}">
                <a16:creationId xmlns:a16="http://schemas.microsoft.com/office/drawing/2014/main" id="{06E37A73-3ABA-B18F-24C6-C3DFB771492D}"/>
              </a:ext>
            </a:extLst>
          </p:cNvPr>
          <p:cNvSpPr txBox="1"/>
          <p:nvPr/>
        </p:nvSpPr>
        <p:spPr>
          <a:xfrm>
            <a:off x="8915398" y="7248498"/>
            <a:ext cx="723249" cy="215444"/>
          </a:xfrm>
          <a:prstGeom prst="rect">
            <a:avLst/>
          </a:prstGeom>
          <a:noFill/>
        </p:spPr>
        <p:txBody>
          <a:bodyPr wrap="square" lIns="0" tIns="0" rIns="0" bIns="0" rtlCol="0">
            <a:spAutoFit/>
          </a:bodyPr>
          <a:lstStyle>
            <a:defPPr>
              <a:defRPr lang="de-DE"/>
            </a:defPPr>
            <a:lvl1pPr algn="ctr">
              <a:spcBef>
                <a:spcPts val="600"/>
              </a:spcBef>
              <a:buSzPct val="90000"/>
              <a:defRPr sz="1050" b="1">
                <a:solidFill>
                  <a:schemeClr val="tx2"/>
                </a:solidFill>
                <a:latin typeface="+mj-lt"/>
              </a:defRPr>
            </a:lvl1pPr>
          </a:lstStyle>
          <a:p>
            <a:r>
              <a:rPr lang="en-GB" sz="1400"/>
              <a:t>Seller</a:t>
            </a:r>
          </a:p>
        </p:txBody>
      </p:sp>
      <p:sp>
        <p:nvSpPr>
          <p:cNvPr id="33" name="Airplane outbound">
            <a:extLst>
              <a:ext uri="{FF2B5EF4-FFF2-40B4-BE49-F238E27FC236}">
                <a16:creationId xmlns:a16="http://schemas.microsoft.com/office/drawing/2014/main" id="{7E3F4B06-2BBA-199A-40CA-722678135B05}"/>
              </a:ext>
            </a:extLst>
          </p:cNvPr>
          <p:cNvSpPr>
            <a:spLocks noChangeAspect="1"/>
          </p:cNvSpPr>
          <p:nvPr/>
        </p:nvSpPr>
        <p:spPr>
          <a:xfrm>
            <a:off x="2094806" y="8339778"/>
            <a:ext cx="671039" cy="551743"/>
          </a:xfrm>
          <a:custGeom>
            <a:avLst/>
            <a:gdLst>
              <a:gd name="connsiteX0" fmla="*/ 314325 w 857250"/>
              <a:gd name="connsiteY0" fmla="*/ 400050 h 704850"/>
              <a:gd name="connsiteX1" fmla="*/ 371475 w 857250"/>
              <a:gd name="connsiteY1" fmla="*/ 400050 h 704850"/>
              <a:gd name="connsiteX2" fmla="*/ 190500 w 857250"/>
              <a:gd name="connsiteY2" fmla="*/ 704850 h 704850"/>
              <a:gd name="connsiteX3" fmla="*/ 247650 w 857250"/>
              <a:gd name="connsiteY3" fmla="*/ 704850 h 704850"/>
              <a:gd name="connsiteX4" fmla="*/ 571500 w 857250"/>
              <a:gd name="connsiteY4" fmla="*/ 400050 h 704850"/>
              <a:gd name="connsiteX5" fmla="*/ 742950 w 857250"/>
              <a:gd name="connsiteY5" fmla="*/ 400050 h 704850"/>
              <a:gd name="connsiteX6" fmla="*/ 743636 w 857250"/>
              <a:gd name="connsiteY6" fmla="*/ 399936 h 704850"/>
              <a:gd name="connsiteX7" fmla="*/ 857250 w 857250"/>
              <a:gd name="connsiteY7" fmla="*/ 352425 h 704850"/>
              <a:gd name="connsiteX8" fmla="*/ 743636 w 857250"/>
              <a:gd name="connsiteY8" fmla="*/ 304914 h 704850"/>
              <a:gd name="connsiteX9" fmla="*/ 742950 w 857250"/>
              <a:gd name="connsiteY9" fmla="*/ 304800 h 704850"/>
              <a:gd name="connsiteX10" fmla="*/ 571500 w 857250"/>
              <a:gd name="connsiteY10" fmla="*/ 304800 h 704850"/>
              <a:gd name="connsiteX11" fmla="*/ 247650 w 857250"/>
              <a:gd name="connsiteY11" fmla="*/ 0 h 704850"/>
              <a:gd name="connsiteX12" fmla="*/ 190500 w 857250"/>
              <a:gd name="connsiteY12" fmla="*/ 0 h 704850"/>
              <a:gd name="connsiteX13" fmla="*/ 371475 w 857250"/>
              <a:gd name="connsiteY13" fmla="*/ 304800 h 704850"/>
              <a:gd name="connsiteX14" fmla="*/ 314325 w 857250"/>
              <a:gd name="connsiteY14" fmla="*/ 304800 h 704850"/>
              <a:gd name="connsiteX15" fmla="*/ 133350 w 857250"/>
              <a:gd name="connsiteY15" fmla="*/ 333375 h 704850"/>
              <a:gd name="connsiteX16" fmla="*/ 47625 w 857250"/>
              <a:gd name="connsiteY16" fmla="*/ 238125 h 704850"/>
              <a:gd name="connsiteX17" fmla="*/ 0 w 857250"/>
              <a:gd name="connsiteY17" fmla="*/ 238125 h 704850"/>
              <a:gd name="connsiteX18" fmla="*/ 66675 w 857250"/>
              <a:gd name="connsiteY18" fmla="*/ 352425 h 704850"/>
              <a:gd name="connsiteX19" fmla="*/ 0 w 857250"/>
              <a:gd name="connsiteY19" fmla="*/ 466725 h 704850"/>
              <a:gd name="connsiteX20" fmla="*/ 47625 w 857250"/>
              <a:gd name="connsiteY20" fmla="*/ 466725 h 704850"/>
              <a:gd name="connsiteX21" fmla="*/ 133350 w 857250"/>
              <a:gd name="connsiteY21" fmla="*/ 371475 h 704850"/>
              <a:gd name="connsiteX22" fmla="*/ 314325 w 857250"/>
              <a:gd name="connsiteY22" fmla="*/ 4000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0" h="704850">
                <a:moveTo>
                  <a:pt x="314325" y="400050"/>
                </a:moveTo>
                <a:lnTo>
                  <a:pt x="371475" y="400050"/>
                </a:lnTo>
                <a:lnTo>
                  <a:pt x="190500" y="704850"/>
                </a:lnTo>
                <a:lnTo>
                  <a:pt x="247650" y="704850"/>
                </a:lnTo>
                <a:lnTo>
                  <a:pt x="571500" y="400050"/>
                </a:lnTo>
                <a:lnTo>
                  <a:pt x="742950" y="400050"/>
                </a:lnTo>
                <a:cubicBezTo>
                  <a:pt x="743181" y="400026"/>
                  <a:pt x="743410" y="399988"/>
                  <a:pt x="743636" y="399936"/>
                </a:cubicBezTo>
                <a:cubicBezTo>
                  <a:pt x="806844" y="398793"/>
                  <a:pt x="857250" y="377990"/>
                  <a:pt x="857250" y="352425"/>
                </a:cubicBezTo>
                <a:cubicBezTo>
                  <a:pt x="857250" y="326860"/>
                  <a:pt x="806844" y="306057"/>
                  <a:pt x="743636" y="304914"/>
                </a:cubicBezTo>
                <a:cubicBezTo>
                  <a:pt x="743410" y="304862"/>
                  <a:pt x="743181" y="304823"/>
                  <a:pt x="742950" y="304800"/>
                </a:cubicBezTo>
                <a:lnTo>
                  <a:pt x="571500" y="304800"/>
                </a:lnTo>
                <a:lnTo>
                  <a:pt x="247650" y="0"/>
                </a:lnTo>
                <a:lnTo>
                  <a:pt x="190500" y="0"/>
                </a:lnTo>
                <a:lnTo>
                  <a:pt x="371475" y="304800"/>
                </a:lnTo>
                <a:lnTo>
                  <a:pt x="314325" y="304800"/>
                </a:lnTo>
                <a:cubicBezTo>
                  <a:pt x="276835" y="305876"/>
                  <a:pt x="164716" y="327184"/>
                  <a:pt x="133350" y="333375"/>
                </a:cubicBezTo>
                <a:lnTo>
                  <a:pt x="47625" y="238125"/>
                </a:lnTo>
                <a:lnTo>
                  <a:pt x="0" y="238125"/>
                </a:lnTo>
                <a:lnTo>
                  <a:pt x="66675" y="352425"/>
                </a:lnTo>
                <a:lnTo>
                  <a:pt x="0" y="466725"/>
                </a:lnTo>
                <a:lnTo>
                  <a:pt x="47625" y="466725"/>
                </a:lnTo>
                <a:lnTo>
                  <a:pt x="133350" y="371475"/>
                </a:lnTo>
                <a:cubicBezTo>
                  <a:pt x="164592" y="377647"/>
                  <a:pt x="276797" y="398974"/>
                  <a:pt x="314325" y="400050"/>
                </a:cubicBezTo>
                <a:close/>
              </a:path>
            </a:pathLst>
          </a:custGeom>
          <a:solidFill>
            <a:schemeClr val="tx2"/>
          </a:solidFill>
          <a:ln w="9525" cap="flat">
            <a:noFill/>
            <a:prstDash val="solid"/>
            <a:miter/>
          </a:ln>
        </p:spPr>
        <p:txBody>
          <a:bodyPr rtlCol="0" anchor="ctr"/>
          <a:lstStyle/>
          <a:p>
            <a:endParaRPr lang="en-US" sz="2400"/>
          </a:p>
        </p:txBody>
      </p:sp>
      <p:sp>
        <p:nvSpPr>
          <p:cNvPr id="34" name="TextBox 33">
            <a:extLst>
              <a:ext uri="{FF2B5EF4-FFF2-40B4-BE49-F238E27FC236}">
                <a16:creationId xmlns:a16="http://schemas.microsoft.com/office/drawing/2014/main" id="{08B1186D-1E92-A898-2F42-BEB9E38DB27A}"/>
              </a:ext>
            </a:extLst>
          </p:cNvPr>
          <p:cNvSpPr txBox="1"/>
          <p:nvPr/>
        </p:nvSpPr>
        <p:spPr>
          <a:xfrm>
            <a:off x="2048173" y="7673488"/>
            <a:ext cx="723249" cy="215444"/>
          </a:xfrm>
          <a:prstGeom prst="rect">
            <a:avLst/>
          </a:prstGeom>
          <a:noFill/>
        </p:spPr>
        <p:txBody>
          <a:bodyPr wrap="square" lIns="0" tIns="0" rIns="0" bIns="0" rtlCol="0">
            <a:spAutoFit/>
          </a:bodyPr>
          <a:lstStyle/>
          <a:p>
            <a:pPr algn="ctr">
              <a:spcBef>
                <a:spcPts val="800"/>
              </a:spcBef>
              <a:buSzPct val="90000"/>
            </a:pPr>
            <a:r>
              <a:rPr lang="en-GB" sz="1400" b="1">
                <a:solidFill>
                  <a:schemeClr val="tx2"/>
                </a:solidFill>
                <a:latin typeface="+mj-lt"/>
              </a:rPr>
              <a:t>Supplier</a:t>
            </a:r>
          </a:p>
        </p:txBody>
      </p:sp>
      <p:grpSp>
        <p:nvGrpSpPr>
          <p:cNvPr id="4" name="Group 3">
            <a:extLst>
              <a:ext uri="{FF2B5EF4-FFF2-40B4-BE49-F238E27FC236}">
                <a16:creationId xmlns:a16="http://schemas.microsoft.com/office/drawing/2014/main" id="{14E3B054-6221-B0F6-F249-2858D09D9223}"/>
              </a:ext>
            </a:extLst>
          </p:cNvPr>
          <p:cNvGrpSpPr/>
          <p:nvPr/>
        </p:nvGrpSpPr>
        <p:grpSpPr>
          <a:xfrm>
            <a:off x="4094049" y="2113019"/>
            <a:ext cx="7128101" cy="3393148"/>
            <a:chOff x="3958732" y="642718"/>
            <a:chExt cx="7128101" cy="3393148"/>
          </a:xfrm>
        </p:grpSpPr>
        <p:grpSp>
          <p:nvGrpSpPr>
            <p:cNvPr id="6" name="Group 5">
              <a:extLst>
                <a:ext uri="{FF2B5EF4-FFF2-40B4-BE49-F238E27FC236}">
                  <a16:creationId xmlns:a16="http://schemas.microsoft.com/office/drawing/2014/main" id="{736F1C5B-30F3-EE7B-2947-7294C13EC488}"/>
                </a:ext>
              </a:extLst>
            </p:cNvPr>
            <p:cNvGrpSpPr/>
            <p:nvPr/>
          </p:nvGrpSpPr>
          <p:grpSpPr>
            <a:xfrm>
              <a:off x="3958732" y="1950879"/>
              <a:ext cx="4234417" cy="778941"/>
              <a:chOff x="3917245" y="1485276"/>
              <a:chExt cx="4234417" cy="778941"/>
            </a:xfrm>
          </p:grpSpPr>
          <p:cxnSp>
            <p:nvCxnSpPr>
              <p:cNvPr id="12" name="Straight Arrow Connector 11">
                <a:extLst>
                  <a:ext uri="{FF2B5EF4-FFF2-40B4-BE49-F238E27FC236}">
                    <a16:creationId xmlns:a16="http://schemas.microsoft.com/office/drawing/2014/main" id="{3E5BB987-4920-37C7-82AE-B3E33F027446}"/>
                  </a:ext>
                </a:extLst>
              </p:cNvPr>
              <p:cNvCxnSpPr>
                <a:cxnSpLocks/>
              </p:cNvCxnSpPr>
              <p:nvPr/>
            </p:nvCxnSpPr>
            <p:spPr>
              <a:xfrm>
                <a:off x="3917245" y="1874746"/>
                <a:ext cx="4234417"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Scroll: Vertical 12">
                <a:extLst>
                  <a:ext uri="{FF2B5EF4-FFF2-40B4-BE49-F238E27FC236}">
                    <a16:creationId xmlns:a16="http://schemas.microsoft.com/office/drawing/2014/main" id="{92D67555-096C-287F-08D5-07245625F53D}"/>
                  </a:ext>
                </a:extLst>
              </p:cNvPr>
              <p:cNvSpPr/>
              <p:nvPr/>
            </p:nvSpPr>
            <p:spPr>
              <a:xfrm>
                <a:off x="5095475" y="1485276"/>
                <a:ext cx="2062030" cy="778941"/>
              </a:xfrm>
              <a:prstGeom prst="verticalScroll">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a:spcBef>
                    <a:spcPts val="800"/>
                  </a:spcBef>
                  <a:buSzPct val="90000"/>
                </a:pPr>
                <a:r>
                  <a:rPr lang="en-GB" sz="933" b="1" dirty="0">
                    <a:solidFill>
                      <a:schemeClr val="tx1"/>
                    </a:solidFill>
                  </a:rPr>
                  <a:t>Airline profile</a:t>
                </a:r>
              </a:p>
              <a:p>
                <a:pPr marL="228594" indent="-228594">
                  <a:spcBef>
                    <a:spcPts val="800"/>
                  </a:spcBef>
                  <a:buSzPct val="90000"/>
                  <a:buFont typeface="Wingdings" panose="05000000000000000000" pitchFamily="2" charset="2"/>
                  <a:buChar char="§"/>
                </a:pPr>
                <a:r>
                  <a:rPr lang="en-GB" sz="933" b="1" dirty="0">
                    <a:solidFill>
                      <a:schemeClr val="tx1"/>
                    </a:solidFill>
                  </a:rPr>
                  <a:t>Transport</a:t>
                </a:r>
                <a:r>
                  <a:rPr lang="en-GB" sz="933" dirty="0">
                    <a:solidFill>
                      <a:schemeClr val="tx1"/>
                    </a:solidFill>
                  </a:rPr>
                  <a:t> : OD1/OD2/OD3</a:t>
                </a:r>
                <a:endParaRPr lang="en-GB" sz="1600" dirty="0">
                  <a:solidFill>
                    <a:schemeClr val="tx1"/>
                  </a:solidFill>
                </a:endParaRPr>
              </a:p>
            </p:txBody>
          </p:sp>
        </p:grpSp>
        <p:sp>
          <p:nvSpPr>
            <p:cNvPr id="9" name="Rectangle 8">
              <a:extLst>
                <a:ext uri="{FF2B5EF4-FFF2-40B4-BE49-F238E27FC236}">
                  <a16:creationId xmlns:a16="http://schemas.microsoft.com/office/drawing/2014/main" id="{4543ED5A-27C5-13C3-8280-74F0F5331B82}"/>
                </a:ext>
              </a:extLst>
            </p:cNvPr>
            <p:cNvSpPr/>
            <p:nvPr/>
          </p:nvSpPr>
          <p:spPr>
            <a:xfrm>
              <a:off x="8177980" y="642718"/>
              <a:ext cx="2908853" cy="3393148"/>
            </a:xfrm>
            <a:prstGeom prst="rect">
              <a:avLst/>
            </a:prstGeom>
            <a:solidFill>
              <a:schemeClr val="bg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marL="228594" indent="-228594">
                <a:spcBef>
                  <a:spcPts val="800"/>
                </a:spcBef>
                <a:buSzPct val="90000"/>
                <a:buFont typeface="Wingdings" panose="05000000000000000000" pitchFamily="2" charset="2"/>
                <a:buChar char="§"/>
              </a:pPr>
              <a:endParaRPr lang="en-GB" sz="1600" dirty="0">
                <a:solidFill>
                  <a:schemeClr val="tx1"/>
                </a:solidFill>
              </a:endParaRPr>
            </a:p>
          </p:txBody>
        </p:sp>
      </p:grpSp>
      <p:sp>
        <p:nvSpPr>
          <p:cNvPr id="46" name="Rectangle 45">
            <a:extLst>
              <a:ext uri="{FF2B5EF4-FFF2-40B4-BE49-F238E27FC236}">
                <a16:creationId xmlns:a16="http://schemas.microsoft.com/office/drawing/2014/main" id="{958A2770-EC0E-7319-7AF5-28CC2DEEC32A}"/>
              </a:ext>
            </a:extLst>
          </p:cNvPr>
          <p:cNvSpPr/>
          <p:nvPr/>
        </p:nvSpPr>
        <p:spPr>
          <a:xfrm>
            <a:off x="1181883" y="2113019"/>
            <a:ext cx="2908853" cy="3395263"/>
          </a:xfrm>
          <a:prstGeom prst="rect">
            <a:avLst/>
          </a:prstGeom>
          <a:solidFill>
            <a:schemeClr val="bg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marL="228594" indent="-228594">
              <a:spcBef>
                <a:spcPts val="800"/>
              </a:spcBef>
              <a:buSzPct val="90000"/>
              <a:buFont typeface="Wingdings" panose="05000000000000000000" pitchFamily="2" charset="2"/>
              <a:buChar char="§"/>
            </a:pPr>
            <a:endParaRPr lang="en-GB" sz="1600" err="1">
              <a:solidFill>
                <a:schemeClr val="tx1"/>
              </a:solidFill>
            </a:endParaRPr>
          </a:p>
        </p:txBody>
      </p:sp>
      <p:sp>
        <p:nvSpPr>
          <p:cNvPr id="47" name="TextBox 46">
            <a:extLst>
              <a:ext uri="{FF2B5EF4-FFF2-40B4-BE49-F238E27FC236}">
                <a16:creationId xmlns:a16="http://schemas.microsoft.com/office/drawing/2014/main" id="{DA640B82-2BA3-C044-8F88-6D69C76F0972}"/>
              </a:ext>
            </a:extLst>
          </p:cNvPr>
          <p:cNvSpPr txBox="1"/>
          <p:nvPr/>
        </p:nvSpPr>
        <p:spPr>
          <a:xfrm>
            <a:off x="2274685" y="2232186"/>
            <a:ext cx="723249" cy="184666"/>
          </a:xfrm>
          <a:prstGeom prst="rect">
            <a:avLst/>
          </a:prstGeom>
          <a:noFill/>
        </p:spPr>
        <p:txBody>
          <a:bodyPr wrap="square" lIns="0" tIns="0" rIns="0" bIns="0" rtlCol="0">
            <a:spAutoFit/>
          </a:bodyPr>
          <a:lstStyle/>
          <a:p>
            <a:pPr algn="ctr">
              <a:spcBef>
                <a:spcPts val="800"/>
              </a:spcBef>
              <a:buSzPct val="90000"/>
            </a:pPr>
            <a:r>
              <a:rPr lang="en-GB" sz="1200" b="1" dirty="0">
                <a:solidFill>
                  <a:schemeClr val="accent1"/>
                </a:solidFill>
              </a:rPr>
              <a:t>Airline A</a:t>
            </a:r>
          </a:p>
        </p:txBody>
      </p:sp>
      <p:sp>
        <p:nvSpPr>
          <p:cNvPr id="48" name="Scroll: Vertical 47">
            <a:extLst>
              <a:ext uri="{FF2B5EF4-FFF2-40B4-BE49-F238E27FC236}">
                <a16:creationId xmlns:a16="http://schemas.microsoft.com/office/drawing/2014/main" id="{025102FD-70EC-85C6-386F-24726A548791}"/>
              </a:ext>
            </a:extLst>
          </p:cNvPr>
          <p:cNvSpPr/>
          <p:nvPr/>
        </p:nvSpPr>
        <p:spPr>
          <a:xfrm>
            <a:off x="1433099" y="3177355"/>
            <a:ext cx="2377941" cy="2176433"/>
          </a:xfrm>
          <a:prstGeom prst="verticalScroll">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a:spcBef>
                <a:spcPts val="800"/>
              </a:spcBef>
              <a:buSzPct val="90000"/>
            </a:pPr>
            <a:r>
              <a:rPr lang="en-GB" sz="933" b="1" dirty="0">
                <a:solidFill>
                  <a:schemeClr val="tx1"/>
                </a:solidFill>
              </a:rPr>
              <a:t>Airlines A’s Product catalogue</a:t>
            </a:r>
          </a:p>
          <a:p>
            <a:pPr marL="228594" indent="-228594">
              <a:spcBef>
                <a:spcPts val="800"/>
              </a:spcBef>
              <a:buSzPct val="90000"/>
              <a:buFont typeface="Wingdings" panose="05000000000000000000" pitchFamily="2" charset="2"/>
              <a:buChar char="§"/>
            </a:pPr>
            <a:r>
              <a:rPr lang="en-GB" sz="933" b="1" dirty="0">
                <a:solidFill>
                  <a:schemeClr val="tx1"/>
                </a:solidFill>
              </a:rPr>
              <a:t>Transport</a:t>
            </a:r>
            <a:r>
              <a:rPr lang="en-GB" sz="933" dirty="0">
                <a:solidFill>
                  <a:schemeClr val="tx1"/>
                </a:solidFill>
              </a:rPr>
              <a:t>: Leg1/Leg2/Leg3</a:t>
            </a:r>
          </a:p>
          <a:p>
            <a:pPr marL="228594" indent="-228594">
              <a:spcBef>
                <a:spcPts val="800"/>
              </a:spcBef>
              <a:buSzPct val="90000"/>
              <a:buFont typeface="Wingdings" panose="05000000000000000000" pitchFamily="2" charset="2"/>
              <a:buChar char="§"/>
            </a:pPr>
            <a:r>
              <a:rPr lang="en-GB" sz="933" b="1" dirty="0">
                <a:solidFill>
                  <a:schemeClr val="tx1"/>
                </a:solidFill>
              </a:rPr>
              <a:t>Lounge</a:t>
            </a:r>
            <a:r>
              <a:rPr lang="en-GB" sz="933" dirty="0">
                <a:solidFill>
                  <a:schemeClr val="tx1"/>
                </a:solidFill>
              </a:rPr>
              <a:t>: Lounge1/Lounge2</a:t>
            </a:r>
          </a:p>
          <a:p>
            <a:pPr marL="228594" indent="-228594">
              <a:spcBef>
                <a:spcPts val="800"/>
              </a:spcBef>
              <a:buSzPct val="90000"/>
              <a:buFont typeface="Wingdings" panose="05000000000000000000" pitchFamily="2" charset="2"/>
              <a:buChar char="§"/>
            </a:pPr>
            <a:r>
              <a:rPr lang="en-GB" sz="933" b="1" dirty="0">
                <a:solidFill>
                  <a:schemeClr val="tx1"/>
                </a:solidFill>
              </a:rPr>
              <a:t>Meal</a:t>
            </a:r>
            <a:r>
              <a:rPr lang="en-GB" sz="933" dirty="0">
                <a:solidFill>
                  <a:schemeClr val="tx1"/>
                </a:solidFill>
              </a:rPr>
              <a:t>: Meal1/Meal2</a:t>
            </a:r>
          </a:p>
          <a:p>
            <a:pPr marL="228594" indent="-228594">
              <a:spcBef>
                <a:spcPts val="800"/>
              </a:spcBef>
              <a:buSzPct val="90000"/>
              <a:buFont typeface="Wingdings" panose="05000000000000000000" pitchFamily="2" charset="2"/>
              <a:buChar char="§"/>
            </a:pPr>
            <a:r>
              <a:rPr lang="en-GB" sz="933" b="1" dirty="0">
                <a:solidFill>
                  <a:schemeClr val="tx1"/>
                </a:solidFill>
              </a:rPr>
              <a:t>Seat</a:t>
            </a:r>
            <a:r>
              <a:rPr lang="en-GB" sz="933" dirty="0">
                <a:solidFill>
                  <a:schemeClr val="tx1"/>
                </a:solidFill>
              </a:rPr>
              <a:t>: Seat1/Seat2/Seat3</a:t>
            </a:r>
          </a:p>
          <a:p>
            <a:pPr marL="228594" indent="-228594">
              <a:spcBef>
                <a:spcPts val="800"/>
              </a:spcBef>
              <a:buSzPct val="90000"/>
              <a:buFont typeface="Wingdings" panose="05000000000000000000" pitchFamily="2" charset="2"/>
              <a:buChar char="§"/>
            </a:pPr>
            <a:r>
              <a:rPr lang="en-GB" sz="933" b="1" dirty="0">
                <a:solidFill>
                  <a:schemeClr val="tx1"/>
                </a:solidFill>
              </a:rPr>
              <a:t>Bag</a:t>
            </a:r>
            <a:r>
              <a:rPr lang="en-GB" sz="933" dirty="0">
                <a:solidFill>
                  <a:schemeClr val="tx1"/>
                </a:solidFill>
              </a:rPr>
              <a:t>: Bag1/Bag2</a:t>
            </a:r>
          </a:p>
          <a:p>
            <a:pPr marL="228594" indent="-228594">
              <a:spcBef>
                <a:spcPts val="800"/>
              </a:spcBef>
              <a:buSzPct val="90000"/>
              <a:buFont typeface="Wingdings" panose="05000000000000000000" pitchFamily="2" charset="2"/>
              <a:buChar char="§"/>
            </a:pPr>
            <a:endParaRPr lang="en-GB" sz="1600" dirty="0">
              <a:solidFill>
                <a:schemeClr val="tx1"/>
              </a:solidFill>
            </a:endParaRPr>
          </a:p>
        </p:txBody>
      </p:sp>
      <p:sp>
        <p:nvSpPr>
          <p:cNvPr id="49" name="TextBox 48">
            <a:extLst>
              <a:ext uri="{FF2B5EF4-FFF2-40B4-BE49-F238E27FC236}">
                <a16:creationId xmlns:a16="http://schemas.microsoft.com/office/drawing/2014/main" id="{5BAE1F03-12FB-DF8E-8EB8-0551B76A1D70}"/>
              </a:ext>
            </a:extLst>
          </p:cNvPr>
          <p:cNvSpPr txBox="1"/>
          <p:nvPr/>
        </p:nvSpPr>
        <p:spPr>
          <a:xfrm>
            <a:off x="2274685" y="1763644"/>
            <a:ext cx="723249" cy="215444"/>
          </a:xfrm>
          <a:prstGeom prst="rect">
            <a:avLst/>
          </a:prstGeom>
          <a:noFill/>
        </p:spPr>
        <p:txBody>
          <a:bodyPr wrap="square" lIns="0" tIns="0" rIns="0" bIns="0" rtlCol="0">
            <a:spAutoFit/>
          </a:bodyPr>
          <a:lstStyle/>
          <a:p>
            <a:pPr algn="ctr">
              <a:spcBef>
                <a:spcPts val="800"/>
              </a:spcBef>
              <a:buSzPct val="90000"/>
            </a:pPr>
            <a:r>
              <a:rPr lang="en-GB" sz="1400" b="1" dirty="0">
                <a:solidFill>
                  <a:schemeClr val="accent1"/>
                </a:solidFill>
              </a:rPr>
              <a:t>Supplier</a:t>
            </a:r>
          </a:p>
        </p:txBody>
      </p:sp>
      <p:sp>
        <p:nvSpPr>
          <p:cNvPr id="50" name="TextBox 49">
            <a:extLst>
              <a:ext uri="{FF2B5EF4-FFF2-40B4-BE49-F238E27FC236}">
                <a16:creationId xmlns:a16="http://schemas.microsoft.com/office/drawing/2014/main" id="{78596612-98B8-ABC8-BF05-4056ADEB84AC}"/>
              </a:ext>
            </a:extLst>
          </p:cNvPr>
          <p:cNvSpPr txBox="1"/>
          <p:nvPr/>
        </p:nvSpPr>
        <p:spPr>
          <a:xfrm>
            <a:off x="9337314" y="1763644"/>
            <a:ext cx="975948" cy="215444"/>
          </a:xfrm>
          <a:prstGeom prst="rect">
            <a:avLst/>
          </a:prstGeom>
          <a:noFill/>
        </p:spPr>
        <p:txBody>
          <a:bodyPr wrap="square" lIns="0" tIns="0" rIns="0" bIns="0" rtlCol="0">
            <a:spAutoFit/>
          </a:bodyPr>
          <a:lstStyle>
            <a:defPPr>
              <a:defRPr lang="de-DE"/>
            </a:defPPr>
            <a:lvl1pPr algn="ctr">
              <a:spcBef>
                <a:spcPts val="600"/>
              </a:spcBef>
              <a:buSzPct val="90000"/>
              <a:defRPr sz="1050" b="1">
                <a:solidFill>
                  <a:schemeClr val="tx2"/>
                </a:solidFill>
                <a:latin typeface="+mj-lt"/>
              </a:defRPr>
            </a:lvl1pPr>
          </a:lstStyle>
          <a:p>
            <a:r>
              <a:rPr lang="en-GB" sz="1400" dirty="0">
                <a:latin typeface="+mn-lt"/>
              </a:rPr>
              <a:t>Seller</a:t>
            </a:r>
          </a:p>
        </p:txBody>
      </p:sp>
      <p:sp>
        <p:nvSpPr>
          <p:cNvPr id="51" name="Airplane outbound">
            <a:extLst>
              <a:ext uri="{FF2B5EF4-FFF2-40B4-BE49-F238E27FC236}">
                <a16:creationId xmlns:a16="http://schemas.microsoft.com/office/drawing/2014/main" id="{C41637D9-0166-E5EA-263E-CFE071298A0C}"/>
              </a:ext>
            </a:extLst>
          </p:cNvPr>
          <p:cNvSpPr>
            <a:spLocks noChangeAspect="1"/>
          </p:cNvSpPr>
          <p:nvPr/>
        </p:nvSpPr>
        <p:spPr>
          <a:xfrm>
            <a:off x="2300790" y="2538881"/>
            <a:ext cx="671039" cy="551743"/>
          </a:xfrm>
          <a:custGeom>
            <a:avLst/>
            <a:gdLst>
              <a:gd name="connsiteX0" fmla="*/ 314325 w 857250"/>
              <a:gd name="connsiteY0" fmla="*/ 400050 h 704850"/>
              <a:gd name="connsiteX1" fmla="*/ 371475 w 857250"/>
              <a:gd name="connsiteY1" fmla="*/ 400050 h 704850"/>
              <a:gd name="connsiteX2" fmla="*/ 190500 w 857250"/>
              <a:gd name="connsiteY2" fmla="*/ 704850 h 704850"/>
              <a:gd name="connsiteX3" fmla="*/ 247650 w 857250"/>
              <a:gd name="connsiteY3" fmla="*/ 704850 h 704850"/>
              <a:gd name="connsiteX4" fmla="*/ 571500 w 857250"/>
              <a:gd name="connsiteY4" fmla="*/ 400050 h 704850"/>
              <a:gd name="connsiteX5" fmla="*/ 742950 w 857250"/>
              <a:gd name="connsiteY5" fmla="*/ 400050 h 704850"/>
              <a:gd name="connsiteX6" fmla="*/ 743636 w 857250"/>
              <a:gd name="connsiteY6" fmla="*/ 399936 h 704850"/>
              <a:gd name="connsiteX7" fmla="*/ 857250 w 857250"/>
              <a:gd name="connsiteY7" fmla="*/ 352425 h 704850"/>
              <a:gd name="connsiteX8" fmla="*/ 743636 w 857250"/>
              <a:gd name="connsiteY8" fmla="*/ 304914 h 704850"/>
              <a:gd name="connsiteX9" fmla="*/ 742950 w 857250"/>
              <a:gd name="connsiteY9" fmla="*/ 304800 h 704850"/>
              <a:gd name="connsiteX10" fmla="*/ 571500 w 857250"/>
              <a:gd name="connsiteY10" fmla="*/ 304800 h 704850"/>
              <a:gd name="connsiteX11" fmla="*/ 247650 w 857250"/>
              <a:gd name="connsiteY11" fmla="*/ 0 h 704850"/>
              <a:gd name="connsiteX12" fmla="*/ 190500 w 857250"/>
              <a:gd name="connsiteY12" fmla="*/ 0 h 704850"/>
              <a:gd name="connsiteX13" fmla="*/ 371475 w 857250"/>
              <a:gd name="connsiteY13" fmla="*/ 304800 h 704850"/>
              <a:gd name="connsiteX14" fmla="*/ 314325 w 857250"/>
              <a:gd name="connsiteY14" fmla="*/ 304800 h 704850"/>
              <a:gd name="connsiteX15" fmla="*/ 133350 w 857250"/>
              <a:gd name="connsiteY15" fmla="*/ 333375 h 704850"/>
              <a:gd name="connsiteX16" fmla="*/ 47625 w 857250"/>
              <a:gd name="connsiteY16" fmla="*/ 238125 h 704850"/>
              <a:gd name="connsiteX17" fmla="*/ 0 w 857250"/>
              <a:gd name="connsiteY17" fmla="*/ 238125 h 704850"/>
              <a:gd name="connsiteX18" fmla="*/ 66675 w 857250"/>
              <a:gd name="connsiteY18" fmla="*/ 352425 h 704850"/>
              <a:gd name="connsiteX19" fmla="*/ 0 w 857250"/>
              <a:gd name="connsiteY19" fmla="*/ 466725 h 704850"/>
              <a:gd name="connsiteX20" fmla="*/ 47625 w 857250"/>
              <a:gd name="connsiteY20" fmla="*/ 466725 h 704850"/>
              <a:gd name="connsiteX21" fmla="*/ 133350 w 857250"/>
              <a:gd name="connsiteY21" fmla="*/ 371475 h 704850"/>
              <a:gd name="connsiteX22" fmla="*/ 314325 w 857250"/>
              <a:gd name="connsiteY22" fmla="*/ 4000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0" h="704850">
                <a:moveTo>
                  <a:pt x="314325" y="400050"/>
                </a:moveTo>
                <a:lnTo>
                  <a:pt x="371475" y="400050"/>
                </a:lnTo>
                <a:lnTo>
                  <a:pt x="190500" y="704850"/>
                </a:lnTo>
                <a:lnTo>
                  <a:pt x="247650" y="704850"/>
                </a:lnTo>
                <a:lnTo>
                  <a:pt x="571500" y="400050"/>
                </a:lnTo>
                <a:lnTo>
                  <a:pt x="742950" y="400050"/>
                </a:lnTo>
                <a:cubicBezTo>
                  <a:pt x="743181" y="400026"/>
                  <a:pt x="743410" y="399988"/>
                  <a:pt x="743636" y="399936"/>
                </a:cubicBezTo>
                <a:cubicBezTo>
                  <a:pt x="806844" y="398793"/>
                  <a:pt x="857250" y="377990"/>
                  <a:pt x="857250" y="352425"/>
                </a:cubicBezTo>
                <a:cubicBezTo>
                  <a:pt x="857250" y="326860"/>
                  <a:pt x="806844" y="306057"/>
                  <a:pt x="743636" y="304914"/>
                </a:cubicBezTo>
                <a:cubicBezTo>
                  <a:pt x="743410" y="304862"/>
                  <a:pt x="743181" y="304823"/>
                  <a:pt x="742950" y="304800"/>
                </a:cubicBezTo>
                <a:lnTo>
                  <a:pt x="571500" y="304800"/>
                </a:lnTo>
                <a:lnTo>
                  <a:pt x="247650" y="0"/>
                </a:lnTo>
                <a:lnTo>
                  <a:pt x="190500" y="0"/>
                </a:lnTo>
                <a:lnTo>
                  <a:pt x="371475" y="304800"/>
                </a:lnTo>
                <a:lnTo>
                  <a:pt x="314325" y="304800"/>
                </a:lnTo>
                <a:cubicBezTo>
                  <a:pt x="276835" y="305876"/>
                  <a:pt x="164716" y="327184"/>
                  <a:pt x="133350" y="333375"/>
                </a:cubicBezTo>
                <a:lnTo>
                  <a:pt x="47625" y="238125"/>
                </a:lnTo>
                <a:lnTo>
                  <a:pt x="0" y="238125"/>
                </a:lnTo>
                <a:lnTo>
                  <a:pt x="66675" y="352425"/>
                </a:lnTo>
                <a:lnTo>
                  <a:pt x="0" y="466725"/>
                </a:lnTo>
                <a:lnTo>
                  <a:pt x="47625" y="466725"/>
                </a:lnTo>
                <a:lnTo>
                  <a:pt x="133350" y="371475"/>
                </a:lnTo>
                <a:cubicBezTo>
                  <a:pt x="164592" y="377647"/>
                  <a:pt x="276797" y="398974"/>
                  <a:pt x="314325" y="400050"/>
                </a:cubicBezTo>
                <a:close/>
              </a:path>
            </a:pathLst>
          </a:custGeom>
          <a:solidFill>
            <a:schemeClr val="accent1"/>
          </a:solidFill>
          <a:ln w="9525" cap="flat">
            <a:noFill/>
            <a:prstDash val="solid"/>
            <a:miter/>
          </a:ln>
        </p:spPr>
        <p:txBody>
          <a:bodyPr rtlCol="0" anchor="ctr"/>
          <a:lstStyle/>
          <a:p>
            <a:endParaRPr lang="en-US" sz="2400"/>
          </a:p>
        </p:txBody>
      </p:sp>
      <p:sp>
        <p:nvSpPr>
          <p:cNvPr id="52" name="TextBox 51">
            <a:extLst>
              <a:ext uri="{FF2B5EF4-FFF2-40B4-BE49-F238E27FC236}">
                <a16:creationId xmlns:a16="http://schemas.microsoft.com/office/drawing/2014/main" id="{30889AB1-173E-F419-7866-CFC0F4C2BC27}"/>
              </a:ext>
            </a:extLst>
          </p:cNvPr>
          <p:cNvSpPr txBox="1"/>
          <p:nvPr/>
        </p:nvSpPr>
        <p:spPr>
          <a:xfrm>
            <a:off x="1622431" y="5603413"/>
            <a:ext cx="8879403" cy="461665"/>
          </a:xfrm>
          <a:prstGeom prst="rect">
            <a:avLst/>
          </a:prstGeom>
          <a:noFill/>
        </p:spPr>
        <p:txBody>
          <a:bodyPr wrap="square">
            <a:spAutoFit/>
          </a:bodyPr>
          <a:lstStyle/>
          <a:p>
            <a:pPr algn="ctr"/>
            <a:r>
              <a:rPr lang="en-US" sz="1200" i="1" dirty="0"/>
              <a:t>The Airline Profile communicates to sellers which products and routes the airline is ready to offer, guiding how external partners can request offers.</a:t>
            </a:r>
          </a:p>
        </p:txBody>
      </p:sp>
      <p:grpSp>
        <p:nvGrpSpPr>
          <p:cNvPr id="54" name="Group 53">
            <a:extLst>
              <a:ext uri="{FF2B5EF4-FFF2-40B4-BE49-F238E27FC236}">
                <a16:creationId xmlns:a16="http://schemas.microsoft.com/office/drawing/2014/main" id="{DD7B9795-26A4-494B-1EC6-7BC158B83B2D}"/>
              </a:ext>
            </a:extLst>
          </p:cNvPr>
          <p:cNvGrpSpPr/>
          <p:nvPr/>
        </p:nvGrpSpPr>
        <p:grpSpPr>
          <a:xfrm>
            <a:off x="8973957" y="2307490"/>
            <a:ext cx="1702663" cy="638011"/>
            <a:chOff x="8973957" y="2232186"/>
            <a:chExt cx="1702663" cy="638011"/>
          </a:xfrm>
        </p:grpSpPr>
        <p:sp>
          <p:nvSpPr>
            <p:cNvPr id="30" name="TextBox 29">
              <a:extLst>
                <a:ext uri="{FF2B5EF4-FFF2-40B4-BE49-F238E27FC236}">
                  <a16:creationId xmlns:a16="http://schemas.microsoft.com/office/drawing/2014/main" id="{8496AC53-A742-E1D7-BC07-005FD98AF21E}"/>
                </a:ext>
              </a:extLst>
            </p:cNvPr>
            <p:cNvSpPr txBox="1"/>
            <p:nvPr/>
          </p:nvSpPr>
          <p:spPr>
            <a:xfrm>
              <a:off x="8973957" y="2232186"/>
              <a:ext cx="1702663" cy="184666"/>
            </a:xfrm>
            <a:prstGeom prst="rect">
              <a:avLst/>
            </a:prstGeom>
            <a:noFill/>
          </p:spPr>
          <p:txBody>
            <a:bodyPr wrap="square" lIns="0" tIns="0" rIns="0" bIns="0" rtlCol="0">
              <a:spAutoFit/>
            </a:bodyPr>
            <a:lstStyle/>
            <a:p>
              <a:pPr algn="ctr">
                <a:spcBef>
                  <a:spcPts val="800"/>
                </a:spcBef>
                <a:buSzPct val="90000"/>
              </a:pPr>
              <a:r>
                <a:rPr lang="en-GB" sz="1200" b="1" dirty="0"/>
                <a:t>Travel Agent</a:t>
              </a:r>
            </a:p>
          </p:txBody>
        </p:sp>
        <p:sp>
          <p:nvSpPr>
            <p:cNvPr id="35" name="Travel agent">
              <a:extLst>
                <a:ext uri="{FF2B5EF4-FFF2-40B4-BE49-F238E27FC236}">
                  <a16:creationId xmlns:a16="http://schemas.microsoft.com/office/drawing/2014/main" id="{C514CB44-33CB-7A4D-46AC-773163133EA6}"/>
                </a:ext>
              </a:extLst>
            </p:cNvPr>
            <p:cNvSpPr>
              <a:spLocks noChangeAspect="1"/>
            </p:cNvSpPr>
            <p:nvPr/>
          </p:nvSpPr>
          <p:spPr>
            <a:xfrm>
              <a:off x="9597750" y="2435986"/>
              <a:ext cx="455076" cy="434211"/>
            </a:xfrm>
            <a:custGeom>
              <a:avLst/>
              <a:gdLst>
                <a:gd name="connsiteX0" fmla="*/ 254032 w 837419"/>
                <a:gd name="connsiteY0" fmla="*/ 760915 h 799024"/>
                <a:gd name="connsiteX1" fmla="*/ 701707 w 837419"/>
                <a:gd name="connsiteY1" fmla="*/ 760915 h 799024"/>
                <a:gd name="connsiteX2" fmla="*/ 701707 w 837419"/>
                <a:gd name="connsiteY2" fmla="*/ 799015 h 799024"/>
                <a:gd name="connsiteX3" fmla="*/ 254032 w 837419"/>
                <a:gd name="connsiteY3" fmla="*/ 799015 h 799024"/>
                <a:gd name="connsiteX4" fmla="*/ 495090 w 837419"/>
                <a:gd name="connsiteY4" fmla="*/ 713280 h 799024"/>
                <a:gd name="connsiteX5" fmla="*/ 495090 w 837419"/>
                <a:gd name="connsiteY5" fmla="*/ 741855 h 799024"/>
                <a:gd name="connsiteX6" fmla="*/ 320449 w 837419"/>
                <a:gd name="connsiteY6" fmla="*/ 741855 h 799024"/>
                <a:gd name="connsiteX7" fmla="*/ 320459 w 837419"/>
                <a:gd name="connsiteY7" fmla="*/ 721215 h 799024"/>
                <a:gd name="connsiteX8" fmla="*/ 612619 w 837419"/>
                <a:gd name="connsiteY8" fmla="*/ 525952 h 799024"/>
                <a:gd name="connsiteX9" fmla="*/ 634841 w 837419"/>
                <a:gd name="connsiteY9" fmla="*/ 587865 h 799024"/>
                <a:gd name="connsiteX10" fmla="*/ 634841 w 837419"/>
                <a:gd name="connsiteY10" fmla="*/ 741855 h 799024"/>
                <a:gd name="connsiteX11" fmla="*/ 562613 w 837419"/>
                <a:gd name="connsiteY11" fmla="*/ 741855 h 799024"/>
                <a:gd name="connsiteX12" fmla="*/ 562613 w 837419"/>
                <a:gd name="connsiteY12" fmla="*/ 725977 h 799024"/>
                <a:gd name="connsiteX13" fmla="*/ 618963 w 837419"/>
                <a:gd name="connsiteY13" fmla="*/ 725977 h 799024"/>
                <a:gd name="connsiteX14" fmla="*/ 618963 w 837419"/>
                <a:gd name="connsiteY14" fmla="*/ 591036 h 799024"/>
                <a:gd name="connsiteX15" fmla="*/ 607056 w 837419"/>
                <a:gd name="connsiteY15" fmla="*/ 557699 h 799024"/>
                <a:gd name="connsiteX16" fmla="*/ 62208 w 837419"/>
                <a:gd name="connsiteY16" fmla="*/ 438979 h 799024"/>
                <a:gd name="connsiteX17" fmla="*/ 127931 w 837419"/>
                <a:gd name="connsiteY17" fmla="*/ 438979 h 799024"/>
                <a:gd name="connsiteX18" fmla="*/ 182223 w 837419"/>
                <a:gd name="connsiteY18" fmla="*/ 474222 h 799024"/>
                <a:gd name="connsiteX19" fmla="*/ 242231 w 837419"/>
                <a:gd name="connsiteY19" fmla="*/ 622812 h 799024"/>
                <a:gd name="connsiteX20" fmla="*/ 377486 w 837419"/>
                <a:gd name="connsiteY20" fmla="*/ 622812 h 799024"/>
                <a:gd name="connsiteX21" fmla="*/ 417491 w 837419"/>
                <a:gd name="connsiteY21" fmla="*/ 662817 h 799024"/>
                <a:gd name="connsiteX22" fmla="*/ 377486 w 837419"/>
                <a:gd name="connsiteY22" fmla="*/ 702822 h 799024"/>
                <a:gd name="connsiteX23" fmla="*/ 203178 w 837419"/>
                <a:gd name="connsiteY23" fmla="*/ 702822 h 799024"/>
                <a:gd name="connsiteX24" fmla="*/ 186033 w 837419"/>
                <a:gd name="connsiteY24" fmla="*/ 694249 h 799024"/>
                <a:gd name="connsiteX25" fmla="*/ 186033 w 837419"/>
                <a:gd name="connsiteY25" fmla="*/ 799024 h 799024"/>
                <a:gd name="connsiteX26" fmla="*/ 3153 w 837419"/>
                <a:gd name="connsiteY26" fmla="*/ 799024 h 799024"/>
                <a:gd name="connsiteX27" fmla="*/ 3153 w 837419"/>
                <a:gd name="connsiteY27" fmla="*/ 498034 h 799024"/>
                <a:gd name="connsiteX28" fmla="*/ 62208 w 837419"/>
                <a:gd name="connsiteY28" fmla="*/ 438979 h 799024"/>
                <a:gd name="connsiteX29" fmla="*/ 598151 w 837419"/>
                <a:gd name="connsiteY29" fmla="*/ 371161 h 799024"/>
                <a:gd name="connsiteX30" fmla="*/ 629907 w 837419"/>
                <a:gd name="connsiteY30" fmla="*/ 376704 h 799024"/>
                <a:gd name="connsiteX31" fmla="*/ 581701 w 837419"/>
                <a:gd name="connsiteY31" fmla="*/ 652177 h 799024"/>
                <a:gd name="connsiteX32" fmla="*/ 549954 w 837419"/>
                <a:gd name="connsiteY32" fmla="*/ 646624 h 799024"/>
                <a:gd name="connsiteX33" fmla="*/ 92393 w 837419"/>
                <a:gd name="connsiteY33" fmla="*/ 227515 h 799024"/>
                <a:gd name="connsiteX34" fmla="*/ 184785 w 837419"/>
                <a:gd name="connsiteY34" fmla="*/ 319908 h 799024"/>
                <a:gd name="connsiteX35" fmla="*/ 92393 w 837419"/>
                <a:gd name="connsiteY35" fmla="*/ 412300 h 799024"/>
                <a:gd name="connsiteX36" fmla="*/ 0 w 837419"/>
                <a:gd name="connsiteY36" fmla="*/ 319908 h 799024"/>
                <a:gd name="connsiteX37" fmla="*/ 92393 w 837419"/>
                <a:gd name="connsiteY37" fmla="*/ 227515 h 799024"/>
                <a:gd name="connsiteX38" fmla="*/ 570719 w 837419"/>
                <a:gd name="connsiteY38" fmla="*/ 0 h 799024"/>
                <a:gd name="connsiteX39" fmla="*/ 593579 w 837419"/>
                <a:gd name="connsiteY39" fmla="*/ 0 h 799024"/>
                <a:gd name="connsiteX40" fmla="*/ 723119 w 837419"/>
                <a:gd name="connsiteY40" fmla="*/ 121920 h 799024"/>
                <a:gd name="connsiteX41" fmla="*/ 791699 w 837419"/>
                <a:gd name="connsiteY41" fmla="*/ 121920 h 799024"/>
                <a:gd name="connsiteX42" fmla="*/ 791975 w 837419"/>
                <a:gd name="connsiteY42" fmla="*/ 121968 h 799024"/>
                <a:gd name="connsiteX43" fmla="*/ 837419 w 837419"/>
                <a:gd name="connsiteY43" fmla="*/ 140970 h 799024"/>
                <a:gd name="connsiteX44" fmla="*/ 791975 w 837419"/>
                <a:gd name="connsiteY44" fmla="*/ 159982 h 799024"/>
                <a:gd name="connsiteX45" fmla="*/ 791699 w 837419"/>
                <a:gd name="connsiteY45" fmla="*/ 160020 h 799024"/>
                <a:gd name="connsiteX46" fmla="*/ 723119 w 837419"/>
                <a:gd name="connsiteY46" fmla="*/ 160020 h 799024"/>
                <a:gd name="connsiteX47" fmla="*/ 593579 w 837419"/>
                <a:gd name="connsiteY47" fmla="*/ 281940 h 799024"/>
                <a:gd name="connsiteX48" fmla="*/ 570719 w 837419"/>
                <a:gd name="connsiteY48" fmla="*/ 281940 h 799024"/>
                <a:gd name="connsiteX49" fmla="*/ 643109 w 837419"/>
                <a:gd name="connsiteY49" fmla="*/ 160020 h 799024"/>
                <a:gd name="connsiteX50" fmla="*/ 620249 w 837419"/>
                <a:gd name="connsiteY50" fmla="*/ 160020 h 799024"/>
                <a:gd name="connsiteX51" fmla="*/ 547859 w 837419"/>
                <a:gd name="connsiteY51" fmla="*/ 148590 h 799024"/>
                <a:gd name="connsiteX52" fmla="*/ 513569 w 837419"/>
                <a:gd name="connsiteY52" fmla="*/ 186690 h 799024"/>
                <a:gd name="connsiteX53" fmla="*/ 494519 w 837419"/>
                <a:gd name="connsiteY53" fmla="*/ 186690 h 799024"/>
                <a:gd name="connsiteX54" fmla="*/ 521189 w 837419"/>
                <a:gd name="connsiteY54" fmla="*/ 140970 h 799024"/>
                <a:gd name="connsiteX55" fmla="*/ 494519 w 837419"/>
                <a:gd name="connsiteY55" fmla="*/ 95250 h 799024"/>
                <a:gd name="connsiteX56" fmla="*/ 513569 w 837419"/>
                <a:gd name="connsiteY56" fmla="*/ 95250 h 799024"/>
                <a:gd name="connsiteX57" fmla="*/ 547859 w 837419"/>
                <a:gd name="connsiteY57" fmla="*/ 133350 h 799024"/>
                <a:gd name="connsiteX58" fmla="*/ 620249 w 837419"/>
                <a:gd name="connsiteY58" fmla="*/ 121920 h 799024"/>
                <a:gd name="connsiteX59" fmla="*/ 643109 w 837419"/>
                <a:gd name="connsiteY59" fmla="*/ 121920 h 79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37419" h="799024">
                  <a:moveTo>
                    <a:pt x="254032" y="760915"/>
                  </a:moveTo>
                  <a:lnTo>
                    <a:pt x="701707" y="760915"/>
                  </a:lnTo>
                  <a:lnTo>
                    <a:pt x="701707" y="799015"/>
                  </a:lnTo>
                  <a:lnTo>
                    <a:pt x="254032" y="799015"/>
                  </a:lnTo>
                  <a:close/>
                  <a:moveTo>
                    <a:pt x="495090" y="713280"/>
                  </a:moveTo>
                  <a:lnTo>
                    <a:pt x="495090" y="741855"/>
                  </a:lnTo>
                  <a:lnTo>
                    <a:pt x="320449" y="741855"/>
                  </a:lnTo>
                  <a:lnTo>
                    <a:pt x="320459" y="721215"/>
                  </a:lnTo>
                  <a:close/>
                  <a:moveTo>
                    <a:pt x="612619" y="525952"/>
                  </a:moveTo>
                  <a:lnTo>
                    <a:pt x="634841" y="587865"/>
                  </a:lnTo>
                  <a:lnTo>
                    <a:pt x="634841" y="741855"/>
                  </a:lnTo>
                  <a:lnTo>
                    <a:pt x="562613" y="741855"/>
                  </a:lnTo>
                  <a:lnTo>
                    <a:pt x="562613" y="725977"/>
                  </a:lnTo>
                  <a:lnTo>
                    <a:pt x="618963" y="725977"/>
                  </a:lnTo>
                  <a:lnTo>
                    <a:pt x="618963" y="591036"/>
                  </a:lnTo>
                  <a:lnTo>
                    <a:pt x="607056" y="557699"/>
                  </a:lnTo>
                  <a:close/>
                  <a:moveTo>
                    <a:pt x="62208" y="438979"/>
                  </a:moveTo>
                  <a:lnTo>
                    <a:pt x="127931" y="438979"/>
                  </a:lnTo>
                  <a:cubicBezTo>
                    <a:pt x="151743" y="438979"/>
                    <a:pt x="173651" y="453267"/>
                    <a:pt x="182223" y="474222"/>
                  </a:cubicBezTo>
                  <a:cubicBezTo>
                    <a:pt x="210798" y="542801"/>
                    <a:pt x="242231" y="621859"/>
                    <a:pt x="242231" y="622812"/>
                  </a:cubicBezTo>
                  <a:lnTo>
                    <a:pt x="377486" y="622812"/>
                  </a:lnTo>
                  <a:cubicBezTo>
                    <a:pt x="399393" y="622812"/>
                    <a:pt x="417491" y="640909"/>
                    <a:pt x="417491" y="662817"/>
                  </a:cubicBezTo>
                  <a:cubicBezTo>
                    <a:pt x="417491" y="684724"/>
                    <a:pt x="399393" y="702822"/>
                    <a:pt x="377486" y="702822"/>
                  </a:cubicBezTo>
                  <a:lnTo>
                    <a:pt x="203178" y="702822"/>
                  </a:lnTo>
                  <a:cubicBezTo>
                    <a:pt x="196511" y="702822"/>
                    <a:pt x="189843" y="699012"/>
                    <a:pt x="186033" y="694249"/>
                  </a:cubicBezTo>
                  <a:lnTo>
                    <a:pt x="186033" y="799024"/>
                  </a:lnTo>
                  <a:lnTo>
                    <a:pt x="3153" y="799024"/>
                  </a:lnTo>
                  <a:lnTo>
                    <a:pt x="3153" y="498034"/>
                  </a:lnTo>
                  <a:cubicBezTo>
                    <a:pt x="3153" y="465649"/>
                    <a:pt x="29823" y="438979"/>
                    <a:pt x="62208" y="438979"/>
                  </a:cubicBezTo>
                  <a:close/>
                  <a:moveTo>
                    <a:pt x="598151" y="371161"/>
                  </a:moveTo>
                  <a:lnTo>
                    <a:pt x="629907" y="376704"/>
                  </a:lnTo>
                  <a:lnTo>
                    <a:pt x="581701" y="652177"/>
                  </a:lnTo>
                  <a:lnTo>
                    <a:pt x="549954" y="646624"/>
                  </a:lnTo>
                  <a:close/>
                  <a:moveTo>
                    <a:pt x="92393" y="227515"/>
                  </a:moveTo>
                  <a:cubicBezTo>
                    <a:pt x="143419" y="227515"/>
                    <a:pt x="184785" y="268881"/>
                    <a:pt x="184785" y="319908"/>
                  </a:cubicBezTo>
                  <a:cubicBezTo>
                    <a:pt x="184785" y="370934"/>
                    <a:pt x="143419" y="412300"/>
                    <a:pt x="92393" y="412300"/>
                  </a:cubicBezTo>
                  <a:cubicBezTo>
                    <a:pt x="41366" y="412300"/>
                    <a:pt x="0" y="370934"/>
                    <a:pt x="0" y="319908"/>
                  </a:cubicBezTo>
                  <a:cubicBezTo>
                    <a:pt x="0" y="268881"/>
                    <a:pt x="41366" y="227515"/>
                    <a:pt x="92393" y="227515"/>
                  </a:cubicBezTo>
                  <a:close/>
                  <a:moveTo>
                    <a:pt x="570719" y="0"/>
                  </a:moveTo>
                  <a:lnTo>
                    <a:pt x="593579" y="0"/>
                  </a:lnTo>
                  <a:lnTo>
                    <a:pt x="723119" y="121920"/>
                  </a:lnTo>
                  <a:lnTo>
                    <a:pt x="791699" y="121920"/>
                  </a:lnTo>
                  <a:cubicBezTo>
                    <a:pt x="791792" y="121930"/>
                    <a:pt x="791884" y="121946"/>
                    <a:pt x="791975" y="121968"/>
                  </a:cubicBezTo>
                  <a:cubicBezTo>
                    <a:pt x="817255" y="122425"/>
                    <a:pt x="837419" y="130740"/>
                    <a:pt x="837419" y="140970"/>
                  </a:cubicBezTo>
                  <a:cubicBezTo>
                    <a:pt x="837419" y="151200"/>
                    <a:pt x="817255" y="159525"/>
                    <a:pt x="791975" y="159982"/>
                  </a:cubicBezTo>
                  <a:cubicBezTo>
                    <a:pt x="791884" y="160000"/>
                    <a:pt x="791792" y="160013"/>
                    <a:pt x="791699" y="160020"/>
                  </a:cubicBezTo>
                  <a:lnTo>
                    <a:pt x="723119" y="160020"/>
                  </a:lnTo>
                  <a:lnTo>
                    <a:pt x="593579" y="281940"/>
                  </a:lnTo>
                  <a:lnTo>
                    <a:pt x="570719" y="281940"/>
                  </a:lnTo>
                  <a:lnTo>
                    <a:pt x="643109" y="160020"/>
                  </a:lnTo>
                  <a:lnTo>
                    <a:pt x="620249" y="160020"/>
                  </a:lnTo>
                  <a:cubicBezTo>
                    <a:pt x="605238" y="159591"/>
                    <a:pt x="560356" y="151067"/>
                    <a:pt x="547859" y="148590"/>
                  </a:cubicBezTo>
                  <a:lnTo>
                    <a:pt x="513569" y="186690"/>
                  </a:lnTo>
                  <a:lnTo>
                    <a:pt x="494519" y="186690"/>
                  </a:lnTo>
                  <a:lnTo>
                    <a:pt x="521189" y="140970"/>
                  </a:lnTo>
                  <a:lnTo>
                    <a:pt x="494519" y="95250"/>
                  </a:lnTo>
                  <a:lnTo>
                    <a:pt x="513569" y="95250"/>
                  </a:lnTo>
                  <a:lnTo>
                    <a:pt x="547859" y="133350"/>
                  </a:lnTo>
                  <a:cubicBezTo>
                    <a:pt x="560403" y="130874"/>
                    <a:pt x="605257" y="122358"/>
                    <a:pt x="620249" y="121920"/>
                  </a:cubicBezTo>
                  <a:lnTo>
                    <a:pt x="643109" y="121920"/>
                  </a:lnTo>
                  <a:close/>
                </a:path>
              </a:pathLst>
            </a:custGeom>
            <a:solidFill>
              <a:srgbClr val="05164D"/>
            </a:solidFill>
            <a:ln w="9525" cap="flat">
              <a:noFill/>
              <a:prstDash val="solid"/>
              <a:miter/>
            </a:ln>
          </p:spPr>
          <p:txBody>
            <a:bodyPr rtlCol="0" anchor="ctr"/>
            <a:lstStyle/>
            <a:p>
              <a:endParaRPr lang="en-US" sz="2400"/>
            </a:p>
          </p:txBody>
        </p:sp>
      </p:grpSp>
      <p:grpSp>
        <p:nvGrpSpPr>
          <p:cNvPr id="53" name="Group 52">
            <a:extLst>
              <a:ext uri="{FF2B5EF4-FFF2-40B4-BE49-F238E27FC236}">
                <a16:creationId xmlns:a16="http://schemas.microsoft.com/office/drawing/2014/main" id="{53BC1D36-0D54-ABF1-433D-C9CE3DAAEF1E}"/>
              </a:ext>
            </a:extLst>
          </p:cNvPr>
          <p:cNvGrpSpPr/>
          <p:nvPr/>
        </p:nvGrpSpPr>
        <p:grpSpPr>
          <a:xfrm>
            <a:off x="9360594" y="3445330"/>
            <a:ext cx="929388" cy="692737"/>
            <a:chOff x="9360594" y="3145686"/>
            <a:chExt cx="929388" cy="692737"/>
          </a:xfrm>
        </p:grpSpPr>
        <p:sp>
          <p:nvSpPr>
            <p:cNvPr id="31" name="TextBox 30">
              <a:extLst>
                <a:ext uri="{FF2B5EF4-FFF2-40B4-BE49-F238E27FC236}">
                  <a16:creationId xmlns:a16="http://schemas.microsoft.com/office/drawing/2014/main" id="{7059B45F-18FD-4E24-FD6A-98BC4662B35F}"/>
                </a:ext>
              </a:extLst>
            </p:cNvPr>
            <p:cNvSpPr txBox="1"/>
            <p:nvPr/>
          </p:nvSpPr>
          <p:spPr>
            <a:xfrm>
              <a:off x="9360594" y="3145686"/>
              <a:ext cx="929388" cy="184666"/>
            </a:xfrm>
            <a:prstGeom prst="rect">
              <a:avLst/>
            </a:prstGeom>
            <a:noFill/>
          </p:spPr>
          <p:txBody>
            <a:bodyPr wrap="square" lIns="0" tIns="0" rIns="0" bIns="0" rtlCol="0">
              <a:spAutoFit/>
            </a:bodyPr>
            <a:lstStyle/>
            <a:p>
              <a:pPr algn="ctr">
                <a:spcBef>
                  <a:spcPts val="800"/>
                </a:spcBef>
                <a:buSzPct val="90000"/>
              </a:pPr>
              <a:r>
                <a:rPr lang="en-GB" sz="1200" b="1" dirty="0"/>
                <a:t>OTA</a:t>
              </a:r>
            </a:p>
          </p:txBody>
        </p:sp>
        <p:pic>
          <p:nvPicPr>
            <p:cNvPr id="36" name="Picture 35" descr="A blue square with a plane and awning&#10;&#10;AI-generated content may be incorrect.">
              <a:extLst>
                <a:ext uri="{FF2B5EF4-FFF2-40B4-BE49-F238E27FC236}">
                  <a16:creationId xmlns:a16="http://schemas.microsoft.com/office/drawing/2014/main" id="{1A2AE642-982D-7B31-008B-B378A7D94943}"/>
                </a:ext>
              </a:extLst>
            </p:cNvPr>
            <p:cNvPicPr>
              <a:picLocks noChangeAspect="1"/>
            </p:cNvPicPr>
            <p:nvPr/>
          </p:nvPicPr>
          <p:blipFill>
            <a:blip r:embed="rId7"/>
            <a:stretch>
              <a:fillRect/>
            </a:stretch>
          </p:blipFill>
          <p:spPr>
            <a:xfrm>
              <a:off x="9571253" y="3330352"/>
              <a:ext cx="508071" cy="508071"/>
            </a:xfrm>
            <a:prstGeom prst="rect">
              <a:avLst/>
            </a:prstGeom>
          </p:spPr>
        </p:pic>
      </p:grpSp>
      <p:grpSp>
        <p:nvGrpSpPr>
          <p:cNvPr id="55" name="Group 54">
            <a:extLst>
              <a:ext uri="{FF2B5EF4-FFF2-40B4-BE49-F238E27FC236}">
                <a16:creationId xmlns:a16="http://schemas.microsoft.com/office/drawing/2014/main" id="{1DEC93F5-6467-9033-2284-8631ACE8ECAF}"/>
              </a:ext>
            </a:extLst>
          </p:cNvPr>
          <p:cNvGrpSpPr/>
          <p:nvPr/>
        </p:nvGrpSpPr>
        <p:grpSpPr>
          <a:xfrm>
            <a:off x="9099564" y="4637896"/>
            <a:ext cx="1451447" cy="682550"/>
            <a:chOff x="9099564" y="4562592"/>
            <a:chExt cx="1451447" cy="682550"/>
          </a:xfrm>
        </p:grpSpPr>
        <p:sp>
          <p:nvSpPr>
            <p:cNvPr id="32" name="TextBox 31">
              <a:extLst>
                <a:ext uri="{FF2B5EF4-FFF2-40B4-BE49-F238E27FC236}">
                  <a16:creationId xmlns:a16="http://schemas.microsoft.com/office/drawing/2014/main" id="{5373F89D-4546-4349-2453-227EA521558C}"/>
                </a:ext>
              </a:extLst>
            </p:cNvPr>
            <p:cNvSpPr txBox="1"/>
            <p:nvPr/>
          </p:nvSpPr>
          <p:spPr>
            <a:xfrm>
              <a:off x="9099564" y="4562592"/>
              <a:ext cx="1451447" cy="184666"/>
            </a:xfrm>
            <a:prstGeom prst="rect">
              <a:avLst/>
            </a:prstGeom>
            <a:noFill/>
          </p:spPr>
          <p:txBody>
            <a:bodyPr wrap="square" lIns="0" tIns="0" rIns="0" bIns="0" rtlCol="0">
              <a:spAutoFit/>
            </a:bodyPr>
            <a:lstStyle/>
            <a:p>
              <a:pPr algn="ctr">
                <a:spcBef>
                  <a:spcPts val="800"/>
                </a:spcBef>
                <a:buSzPct val="90000"/>
              </a:pPr>
              <a:r>
                <a:rPr lang="en-GB" sz="1200" b="1" dirty="0"/>
                <a:t>Tour Operator</a:t>
              </a:r>
            </a:p>
          </p:txBody>
        </p:sp>
        <p:pic>
          <p:nvPicPr>
            <p:cNvPr id="37" name="Picture 36" descr="A blue and black logo&#10;&#10;AI-generated content may be incorrect.">
              <a:extLst>
                <a:ext uri="{FF2B5EF4-FFF2-40B4-BE49-F238E27FC236}">
                  <a16:creationId xmlns:a16="http://schemas.microsoft.com/office/drawing/2014/main" id="{4BABC6C1-73BE-5BB4-C868-8435754753D6}"/>
                </a:ext>
              </a:extLst>
            </p:cNvPr>
            <p:cNvPicPr>
              <a:picLocks noChangeAspect="1"/>
            </p:cNvPicPr>
            <p:nvPr/>
          </p:nvPicPr>
          <p:blipFill>
            <a:blip r:embed="rId8"/>
            <a:stretch>
              <a:fillRect/>
            </a:stretch>
          </p:blipFill>
          <p:spPr>
            <a:xfrm>
              <a:off x="9601515" y="4797596"/>
              <a:ext cx="447546" cy="447546"/>
            </a:xfrm>
            <a:prstGeom prst="rect">
              <a:avLst/>
            </a:prstGeom>
          </p:spPr>
        </p:pic>
      </p:grpSp>
    </p:spTree>
    <p:extLst>
      <p:ext uri="{BB962C8B-B14F-4D97-AF65-F5344CB8AC3E}">
        <p14:creationId xmlns:p14="http://schemas.microsoft.com/office/powerpoint/2010/main" val="236481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50" grpId="0"/>
    </p:bldLst>
  </p:timing>
  <p:extLst>
    <p:ext uri="{6950BFC3-D8DA-4A85-94F7-54DA5524770B}">
      <p188:commentRel xmlns:p188="http://schemas.microsoft.com/office/powerpoint/2018/8/main" r:id="rId4"/>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58D4BD-ED8A-C916-D852-296EAFC818A7}"/>
            </a:ext>
          </a:extLst>
        </p:cNvPr>
        <p:cNvGrpSpPr/>
        <p:nvPr/>
      </p:nvGrpSpPr>
      <p:grpSpPr>
        <a:xfrm>
          <a:off x="0" y="0"/>
          <a:ext cx="0" cy="0"/>
          <a:chOff x="0" y="0"/>
          <a:chExt cx="0" cy="0"/>
        </a:xfrm>
      </p:grpSpPr>
      <p:sp>
        <p:nvSpPr>
          <p:cNvPr id="50" name="Rectangle 49">
            <a:extLst>
              <a:ext uri="{FF2B5EF4-FFF2-40B4-BE49-F238E27FC236}">
                <a16:creationId xmlns:a16="http://schemas.microsoft.com/office/drawing/2014/main" id="{FF1B2456-C81C-C462-CEC4-D4AEA2E73509}"/>
              </a:ext>
            </a:extLst>
          </p:cNvPr>
          <p:cNvSpPr/>
          <p:nvPr/>
        </p:nvSpPr>
        <p:spPr>
          <a:xfrm>
            <a:off x="7429127" y="3073055"/>
            <a:ext cx="2179330" cy="184129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F100CAE3-1B5E-F685-8CB5-B66B26EE48EC}"/>
              </a:ext>
            </a:extLst>
          </p:cNvPr>
          <p:cNvSpPr/>
          <p:nvPr/>
        </p:nvSpPr>
        <p:spPr>
          <a:xfrm>
            <a:off x="10480964" y="3335678"/>
            <a:ext cx="1050170" cy="105017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ZoneTexte 56">
            <a:extLst>
              <a:ext uri="{FF2B5EF4-FFF2-40B4-BE49-F238E27FC236}">
                <a16:creationId xmlns:a16="http://schemas.microsoft.com/office/drawing/2014/main" id="{A22EA6A0-F72A-0221-72AC-7D96D7316EB3}"/>
              </a:ext>
            </a:extLst>
          </p:cNvPr>
          <p:cNvSpPr txBox="1"/>
          <p:nvPr/>
        </p:nvSpPr>
        <p:spPr>
          <a:xfrm>
            <a:off x="10637828" y="4485422"/>
            <a:ext cx="924005" cy="276999"/>
          </a:xfrm>
          <a:prstGeom prst="rect">
            <a:avLst/>
          </a:prstGeom>
          <a:noFill/>
        </p:spPr>
        <p:txBody>
          <a:bodyPr wrap="square" rtlCol="0">
            <a:spAutoFit/>
          </a:bodyPr>
          <a:lstStyle/>
          <a:p>
            <a:pPr algn="ctr" defTabSz="914377"/>
            <a:r>
              <a:rPr lang="en-US" sz="1200" b="1" dirty="0">
                <a:solidFill>
                  <a:prstClr val="black"/>
                </a:solidFill>
              </a:rPr>
              <a:t>Traveler</a:t>
            </a:r>
            <a:endParaRPr lang="en-US" b="1" dirty="0">
              <a:solidFill>
                <a:prstClr val="black"/>
              </a:solidFill>
            </a:endParaRPr>
          </a:p>
        </p:txBody>
      </p:sp>
      <p:grpSp>
        <p:nvGrpSpPr>
          <p:cNvPr id="38" name="Image 5" descr="Database outline">
            <a:extLst>
              <a:ext uri="{FF2B5EF4-FFF2-40B4-BE49-F238E27FC236}">
                <a16:creationId xmlns:a16="http://schemas.microsoft.com/office/drawing/2014/main" id="{9759E544-54B6-5E82-DEC8-6256AFB6CDF7}"/>
              </a:ext>
            </a:extLst>
          </p:cNvPr>
          <p:cNvGrpSpPr/>
          <p:nvPr/>
        </p:nvGrpSpPr>
        <p:grpSpPr>
          <a:xfrm>
            <a:off x="7599775" y="3214914"/>
            <a:ext cx="726629" cy="1120312"/>
            <a:chOff x="6661501" y="3376507"/>
            <a:chExt cx="474028" cy="782581"/>
          </a:xfrm>
          <a:solidFill>
            <a:schemeClr val="accent1"/>
          </a:solidFill>
        </p:grpSpPr>
        <p:sp>
          <p:nvSpPr>
            <p:cNvPr id="39" name="Freeform: Shape 38">
              <a:extLst>
                <a:ext uri="{FF2B5EF4-FFF2-40B4-BE49-F238E27FC236}">
                  <a16:creationId xmlns:a16="http://schemas.microsoft.com/office/drawing/2014/main" id="{58080B41-0CCB-B98D-5C83-F8944A0D58B7}"/>
                </a:ext>
              </a:extLst>
            </p:cNvPr>
            <p:cNvSpPr/>
            <p:nvPr/>
          </p:nvSpPr>
          <p:spPr>
            <a:xfrm>
              <a:off x="6661501" y="3376507"/>
              <a:ext cx="474028" cy="782581"/>
            </a:xfrm>
            <a:custGeom>
              <a:avLst/>
              <a:gdLst>
                <a:gd name="connsiteX0" fmla="*/ 474029 w 474028"/>
                <a:gd name="connsiteY0" fmla="*/ 692284 h 782581"/>
                <a:gd name="connsiteX1" fmla="*/ 474029 w 474028"/>
                <a:gd name="connsiteY1" fmla="*/ 90298 h 782581"/>
                <a:gd name="connsiteX2" fmla="*/ 237014 w 474028"/>
                <a:gd name="connsiteY2" fmla="*/ 0 h 782581"/>
                <a:gd name="connsiteX3" fmla="*/ 0 w 474028"/>
                <a:gd name="connsiteY3" fmla="*/ 90298 h 782581"/>
                <a:gd name="connsiteX4" fmla="*/ 0 w 474028"/>
                <a:gd name="connsiteY4" fmla="*/ 692284 h 782581"/>
                <a:gd name="connsiteX5" fmla="*/ 237014 w 474028"/>
                <a:gd name="connsiteY5" fmla="*/ 782581 h 782581"/>
                <a:gd name="connsiteX6" fmla="*/ 474029 w 474028"/>
                <a:gd name="connsiteY6" fmla="*/ 692284 h 782581"/>
                <a:gd name="connsiteX7" fmla="*/ 237014 w 474028"/>
                <a:gd name="connsiteY7" fmla="*/ 20066 h 782581"/>
                <a:gd name="connsiteX8" fmla="*/ 457683 w 474028"/>
                <a:gd name="connsiteY8" fmla="*/ 90298 h 782581"/>
                <a:gd name="connsiteX9" fmla="*/ 237014 w 474028"/>
                <a:gd name="connsiteY9" fmla="*/ 160530 h 782581"/>
                <a:gd name="connsiteX10" fmla="*/ 16346 w 474028"/>
                <a:gd name="connsiteY10" fmla="*/ 90298 h 782581"/>
                <a:gd name="connsiteX11" fmla="*/ 237014 w 474028"/>
                <a:gd name="connsiteY11" fmla="*/ 20066 h 782581"/>
                <a:gd name="connsiteX12" fmla="*/ 16346 w 474028"/>
                <a:gd name="connsiteY12" fmla="*/ 125012 h 782581"/>
                <a:gd name="connsiteX13" fmla="*/ 237014 w 474028"/>
                <a:gd name="connsiteY13" fmla="*/ 180596 h 782581"/>
                <a:gd name="connsiteX14" fmla="*/ 457683 w 474028"/>
                <a:gd name="connsiteY14" fmla="*/ 125012 h 782581"/>
                <a:gd name="connsiteX15" fmla="*/ 457683 w 474028"/>
                <a:gd name="connsiteY15" fmla="*/ 290960 h 782581"/>
                <a:gd name="connsiteX16" fmla="*/ 237014 w 474028"/>
                <a:gd name="connsiteY16" fmla="*/ 361191 h 782581"/>
                <a:gd name="connsiteX17" fmla="*/ 16346 w 474028"/>
                <a:gd name="connsiteY17" fmla="*/ 290960 h 782581"/>
                <a:gd name="connsiteX18" fmla="*/ 16346 w 474028"/>
                <a:gd name="connsiteY18" fmla="*/ 325674 h 782581"/>
                <a:gd name="connsiteX19" fmla="*/ 237014 w 474028"/>
                <a:gd name="connsiteY19" fmla="*/ 381258 h 782581"/>
                <a:gd name="connsiteX20" fmla="*/ 457683 w 474028"/>
                <a:gd name="connsiteY20" fmla="*/ 325674 h 782581"/>
                <a:gd name="connsiteX21" fmla="*/ 457683 w 474028"/>
                <a:gd name="connsiteY21" fmla="*/ 491622 h 782581"/>
                <a:gd name="connsiteX22" fmla="*/ 237014 w 474028"/>
                <a:gd name="connsiteY22" fmla="*/ 561853 h 782581"/>
                <a:gd name="connsiteX23" fmla="*/ 16346 w 474028"/>
                <a:gd name="connsiteY23" fmla="*/ 491622 h 782581"/>
                <a:gd name="connsiteX24" fmla="*/ 16346 w 474028"/>
                <a:gd name="connsiteY24" fmla="*/ 692284 h 782581"/>
                <a:gd name="connsiteX25" fmla="*/ 16346 w 474028"/>
                <a:gd name="connsiteY25" fmla="*/ 526336 h 782581"/>
                <a:gd name="connsiteX26" fmla="*/ 237014 w 474028"/>
                <a:gd name="connsiteY26" fmla="*/ 581919 h 782581"/>
                <a:gd name="connsiteX27" fmla="*/ 457683 w 474028"/>
                <a:gd name="connsiteY27" fmla="*/ 526336 h 782581"/>
                <a:gd name="connsiteX28" fmla="*/ 457683 w 474028"/>
                <a:gd name="connsiteY28" fmla="*/ 692284 h 782581"/>
                <a:gd name="connsiteX29" fmla="*/ 237014 w 474028"/>
                <a:gd name="connsiteY29" fmla="*/ 762515 h 782581"/>
                <a:gd name="connsiteX30" fmla="*/ 16346 w 474028"/>
                <a:gd name="connsiteY30" fmla="*/ 692284 h 78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74028" h="782581">
                  <a:moveTo>
                    <a:pt x="474029" y="692284"/>
                  </a:moveTo>
                  <a:lnTo>
                    <a:pt x="474029" y="90298"/>
                  </a:lnTo>
                  <a:cubicBezTo>
                    <a:pt x="474029" y="31644"/>
                    <a:pt x="351917" y="0"/>
                    <a:pt x="237014" y="0"/>
                  </a:cubicBezTo>
                  <a:cubicBezTo>
                    <a:pt x="122111" y="0"/>
                    <a:pt x="0" y="31644"/>
                    <a:pt x="0" y="90298"/>
                  </a:cubicBezTo>
                  <a:lnTo>
                    <a:pt x="0" y="692284"/>
                  </a:lnTo>
                  <a:cubicBezTo>
                    <a:pt x="0" y="750937"/>
                    <a:pt x="122111" y="782581"/>
                    <a:pt x="237014" y="782581"/>
                  </a:cubicBezTo>
                  <a:cubicBezTo>
                    <a:pt x="351917" y="782581"/>
                    <a:pt x="474029" y="750937"/>
                    <a:pt x="474029" y="692284"/>
                  </a:cubicBezTo>
                  <a:close/>
                  <a:moveTo>
                    <a:pt x="237014" y="20066"/>
                  </a:moveTo>
                  <a:cubicBezTo>
                    <a:pt x="363310" y="20066"/>
                    <a:pt x="457683" y="57189"/>
                    <a:pt x="457683" y="90298"/>
                  </a:cubicBezTo>
                  <a:cubicBezTo>
                    <a:pt x="457683" y="123407"/>
                    <a:pt x="363310" y="160530"/>
                    <a:pt x="237014" y="160530"/>
                  </a:cubicBezTo>
                  <a:cubicBezTo>
                    <a:pt x="110718" y="160530"/>
                    <a:pt x="16346" y="123407"/>
                    <a:pt x="16346" y="90298"/>
                  </a:cubicBezTo>
                  <a:cubicBezTo>
                    <a:pt x="16346" y="57189"/>
                    <a:pt x="110718" y="20066"/>
                    <a:pt x="237014" y="20066"/>
                  </a:cubicBezTo>
                  <a:close/>
                  <a:moveTo>
                    <a:pt x="16346" y="125012"/>
                  </a:moveTo>
                  <a:cubicBezTo>
                    <a:pt x="53361" y="161332"/>
                    <a:pt x="147382" y="180596"/>
                    <a:pt x="237014" y="180596"/>
                  </a:cubicBezTo>
                  <a:cubicBezTo>
                    <a:pt x="326647" y="180596"/>
                    <a:pt x="420668" y="161332"/>
                    <a:pt x="457683" y="125012"/>
                  </a:cubicBezTo>
                  <a:lnTo>
                    <a:pt x="457683" y="290960"/>
                  </a:lnTo>
                  <a:cubicBezTo>
                    <a:pt x="457683" y="324069"/>
                    <a:pt x="363310" y="361191"/>
                    <a:pt x="237014" y="361191"/>
                  </a:cubicBezTo>
                  <a:cubicBezTo>
                    <a:pt x="110718" y="361191"/>
                    <a:pt x="16346" y="324069"/>
                    <a:pt x="16346" y="290960"/>
                  </a:cubicBezTo>
                  <a:close/>
                  <a:moveTo>
                    <a:pt x="16346" y="325674"/>
                  </a:moveTo>
                  <a:cubicBezTo>
                    <a:pt x="53361" y="361994"/>
                    <a:pt x="147382" y="381258"/>
                    <a:pt x="237014" y="381258"/>
                  </a:cubicBezTo>
                  <a:cubicBezTo>
                    <a:pt x="326647" y="381258"/>
                    <a:pt x="420668" y="361994"/>
                    <a:pt x="457683" y="325674"/>
                  </a:cubicBezTo>
                  <a:lnTo>
                    <a:pt x="457683" y="491622"/>
                  </a:lnTo>
                  <a:cubicBezTo>
                    <a:pt x="457683" y="524731"/>
                    <a:pt x="363310" y="561853"/>
                    <a:pt x="237014" y="561853"/>
                  </a:cubicBezTo>
                  <a:cubicBezTo>
                    <a:pt x="110718" y="561853"/>
                    <a:pt x="16346" y="524731"/>
                    <a:pt x="16346" y="491622"/>
                  </a:cubicBezTo>
                  <a:close/>
                  <a:moveTo>
                    <a:pt x="16346" y="692284"/>
                  </a:moveTo>
                  <a:lnTo>
                    <a:pt x="16346" y="526336"/>
                  </a:lnTo>
                  <a:cubicBezTo>
                    <a:pt x="53361" y="562656"/>
                    <a:pt x="147382" y="581919"/>
                    <a:pt x="237014" y="581919"/>
                  </a:cubicBezTo>
                  <a:cubicBezTo>
                    <a:pt x="326647" y="581919"/>
                    <a:pt x="420668" y="562656"/>
                    <a:pt x="457683" y="526336"/>
                  </a:cubicBezTo>
                  <a:lnTo>
                    <a:pt x="457683" y="692284"/>
                  </a:lnTo>
                  <a:cubicBezTo>
                    <a:pt x="457683" y="725393"/>
                    <a:pt x="363310" y="762515"/>
                    <a:pt x="237014" y="762515"/>
                  </a:cubicBezTo>
                  <a:cubicBezTo>
                    <a:pt x="110718" y="762515"/>
                    <a:pt x="16346" y="725393"/>
                    <a:pt x="16346" y="692284"/>
                  </a:cubicBezTo>
                  <a:close/>
                </a:path>
              </a:pathLst>
            </a:custGeom>
            <a:grpFill/>
            <a:ln w="9525" cap="flat">
              <a:solidFill>
                <a:schemeClr val="tx1">
                  <a:lumMod val="65000"/>
                  <a:lumOff val="35000"/>
                </a:schemeClr>
              </a:solid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BA7CDCAC-FCAE-EE5F-B847-BF8B1FB3DDF2}"/>
                </a:ext>
              </a:extLst>
            </p:cNvPr>
            <p:cNvSpPr/>
            <p:nvPr/>
          </p:nvSpPr>
          <p:spPr>
            <a:xfrm>
              <a:off x="7045627" y="3617302"/>
              <a:ext cx="32691" cy="40132"/>
            </a:xfrm>
            <a:custGeom>
              <a:avLst/>
              <a:gdLst>
                <a:gd name="connsiteX0" fmla="*/ 32692 w 32691"/>
                <a:gd name="connsiteY0" fmla="*/ 20066 h 40132"/>
                <a:gd name="connsiteX1" fmla="*/ 16346 w 32691"/>
                <a:gd name="connsiteY1" fmla="*/ 40132 h 40132"/>
                <a:gd name="connsiteX2" fmla="*/ 0 w 32691"/>
                <a:gd name="connsiteY2" fmla="*/ 20066 h 40132"/>
                <a:gd name="connsiteX3" fmla="*/ 16346 w 32691"/>
                <a:gd name="connsiteY3" fmla="*/ 0 h 40132"/>
                <a:gd name="connsiteX4" fmla="*/ 32692 w 32691"/>
                <a:gd name="connsiteY4" fmla="*/ 20066 h 40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1" h="40132">
                  <a:moveTo>
                    <a:pt x="32692" y="20066"/>
                  </a:moveTo>
                  <a:cubicBezTo>
                    <a:pt x="32692" y="31148"/>
                    <a:pt x="25373" y="40132"/>
                    <a:pt x="16346" y="40132"/>
                  </a:cubicBezTo>
                  <a:cubicBezTo>
                    <a:pt x="7318" y="40132"/>
                    <a:pt x="0" y="31148"/>
                    <a:pt x="0" y="20066"/>
                  </a:cubicBezTo>
                  <a:cubicBezTo>
                    <a:pt x="0" y="8984"/>
                    <a:pt x="7318" y="0"/>
                    <a:pt x="16346" y="0"/>
                  </a:cubicBezTo>
                  <a:cubicBezTo>
                    <a:pt x="25373" y="0"/>
                    <a:pt x="32692" y="8984"/>
                    <a:pt x="32692" y="20066"/>
                  </a:cubicBezTo>
                  <a:close/>
                </a:path>
              </a:pathLst>
            </a:custGeom>
            <a:grpFill/>
            <a:ln w="9525" cap="flat">
              <a:solidFill>
                <a:schemeClr val="tx1">
                  <a:lumMod val="65000"/>
                  <a:lumOff val="35000"/>
                </a:schemeClr>
              </a:solid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F5200F64-0268-43CA-2522-F2BD001EBF78}"/>
                </a:ext>
              </a:extLst>
            </p:cNvPr>
            <p:cNvSpPr/>
            <p:nvPr/>
          </p:nvSpPr>
          <p:spPr>
            <a:xfrm>
              <a:off x="7045627" y="3817964"/>
              <a:ext cx="32691" cy="40132"/>
            </a:xfrm>
            <a:custGeom>
              <a:avLst/>
              <a:gdLst>
                <a:gd name="connsiteX0" fmla="*/ 32692 w 32691"/>
                <a:gd name="connsiteY0" fmla="*/ 20066 h 40132"/>
                <a:gd name="connsiteX1" fmla="*/ 16346 w 32691"/>
                <a:gd name="connsiteY1" fmla="*/ 40132 h 40132"/>
                <a:gd name="connsiteX2" fmla="*/ 0 w 32691"/>
                <a:gd name="connsiteY2" fmla="*/ 20066 h 40132"/>
                <a:gd name="connsiteX3" fmla="*/ 16346 w 32691"/>
                <a:gd name="connsiteY3" fmla="*/ 0 h 40132"/>
                <a:gd name="connsiteX4" fmla="*/ 32692 w 32691"/>
                <a:gd name="connsiteY4" fmla="*/ 20066 h 40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1" h="40132">
                  <a:moveTo>
                    <a:pt x="32692" y="20066"/>
                  </a:moveTo>
                  <a:cubicBezTo>
                    <a:pt x="32692" y="31148"/>
                    <a:pt x="25373" y="40132"/>
                    <a:pt x="16346" y="40132"/>
                  </a:cubicBezTo>
                  <a:cubicBezTo>
                    <a:pt x="7318" y="40132"/>
                    <a:pt x="0" y="31148"/>
                    <a:pt x="0" y="20066"/>
                  </a:cubicBezTo>
                  <a:cubicBezTo>
                    <a:pt x="0" y="8984"/>
                    <a:pt x="7318" y="0"/>
                    <a:pt x="16346" y="0"/>
                  </a:cubicBezTo>
                  <a:cubicBezTo>
                    <a:pt x="25373" y="0"/>
                    <a:pt x="32692" y="8984"/>
                    <a:pt x="32692" y="20066"/>
                  </a:cubicBezTo>
                  <a:close/>
                </a:path>
              </a:pathLst>
            </a:custGeom>
            <a:grpFill/>
            <a:ln w="9525" cap="flat">
              <a:solidFill>
                <a:schemeClr val="tx1">
                  <a:lumMod val="65000"/>
                  <a:lumOff val="35000"/>
                </a:schemeClr>
              </a:solid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28401643-79EF-D5BB-B737-86266F89A837}"/>
                </a:ext>
              </a:extLst>
            </p:cNvPr>
            <p:cNvSpPr/>
            <p:nvPr/>
          </p:nvSpPr>
          <p:spPr>
            <a:xfrm>
              <a:off x="7045627" y="4018625"/>
              <a:ext cx="32691" cy="40132"/>
            </a:xfrm>
            <a:custGeom>
              <a:avLst/>
              <a:gdLst>
                <a:gd name="connsiteX0" fmla="*/ 32692 w 32691"/>
                <a:gd name="connsiteY0" fmla="*/ 20066 h 40132"/>
                <a:gd name="connsiteX1" fmla="*/ 16346 w 32691"/>
                <a:gd name="connsiteY1" fmla="*/ 40132 h 40132"/>
                <a:gd name="connsiteX2" fmla="*/ 0 w 32691"/>
                <a:gd name="connsiteY2" fmla="*/ 20066 h 40132"/>
                <a:gd name="connsiteX3" fmla="*/ 16346 w 32691"/>
                <a:gd name="connsiteY3" fmla="*/ 0 h 40132"/>
                <a:gd name="connsiteX4" fmla="*/ 32692 w 32691"/>
                <a:gd name="connsiteY4" fmla="*/ 20066 h 40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91" h="40132">
                  <a:moveTo>
                    <a:pt x="32692" y="20066"/>
                  </a:moveTo>
                  <a:cubicBezTo>
                    <a:pt x="32692" y="31148"/>
                    <a:pt x="25373" y="40132"/>
                    <a:pt x="16346" y="40132"/>
                  </a:cubicBezTo>
                  <a:cubicBezTo>
                    <a:pt x="7318" y="40132"/>
                    <a:pt x="0" y="31148"/>
                    <a:pt x="0" y="20066"/>
                  </a:cubicBezTo>
                  <a:cubicBezTo>
                    <a:pt x="0" y="8984"/>
                    <a:pt x="7318" y="0"/>
                    <a:pt x="16346" y="0"/>
                  </a:cubicBezTo>
                  <a:cubicBezTo>
                    <a:pt x="25373" y="0"/>
                    <a:pt x="32692" y="8984"/>
                    <a:pt x="32692" y="20066"/>
                  </a:cubicBezTo>
                  <a:close/>
                </a:path>
              </a:pathLst>
            </a:custGeom>
            <a:grpFill/>
            <a:ln w="9525" cap="flat">
              <a:solidFill>
                <a:schemeClr val="tx1">
                  <a:lumMod val="65000"/>
                  <a:lumOff val="35000"/>
                </a:schemeClr>
              </a:solidFill>
              <a:prstDash val="solid"/>
              <a:miter/>
            </a:ln>
          </p:spPr>
          <p:txBody>
            <a:bodyPr rtlCol="0" anchor="ctr"/>
            <a:lstStyle/>
            <a:p>
              <a:endParaRPr lang="en-US"/>
            </a:p>
          </p:txBody>
        </p:sp>
      </p:grpSp>
      <p:sp>
        <p:nvSpPr>
          <p:cNvPr id="29" name="ZoneTexte 56">
            <a:extLst>
              <a:ext uri="{FF2B5EF4-FFF2-40B4-BE49-F238E27FC236}">
                <a16:creationId xmlns:a16="http://schemas.microsoft.com/office/drawing/2014/main" id="{6758C43F-922A-24C5-01FD-F68ECBF88B9C}"/>
              </a:ext>
            </a:extLst>
          </p:cNvPr>
          <p:cNvSpPr txBox="1"/>
          <p:nvPr/>
        </p:nvSpPr>
        <p:spPr>
          <a:xfrm>
            <a:off x="7429127" y="4381064"/>
            <a:ext cx="1067924" cy="461665"/>
          </a:xfrm>
          <a:prstGeom prst="rect">
            <a:avLst/>
          </a:prstGeom>
          <a:noFill/>
        </p:spPr>
        <p:txBody>
          <a:bodyPr wrap="square" rtlCol="0">
            <a:spAutoFit/>
          </a:bodyPr>
          <a:lstStyle/>
          <a:p>
            <a:pPr algn="ctr" defTabSz="914377"/>
            <a:r>
              <a:rPr lang="en-US" sz="1200" b="1" dirty="0">
                <a:solidFill>
                  <a:prstClr val="black"/>
                </a:solidFill>
              </a:rPr>
              <a:t>Airline Profile DB</a:t>
            </a:r>
            <a:endParaRPr lang="en-US" b="1" dirty="0">
              <a:solidFill>
                <a:prstClr val="black"/>
              </a:solidFill>
            </a:endParaRPr>
          </a:p>
        </p:txBody>
      </p:sp>
      <p:sp>
        <p:nvSpPr>
          <p:cNvPr id="44" name="ZoneTexte 56">
            <a:extLst>
              <a:ext uri="{FF2B5EF4-FFF2-40B4-BE49-F238E27FC236}">
                <a16:creationId xmlns:a16="http://schemas.microsoft.com/office/drawing/2014/main" id="{A25F7D16-F8CF-63CE-718D-A2458E6C2B6A}"/>
              </a:ext>
            </a:extLst>
          </p:cNvPr>
          <p:cNvSpPr txBox="1"/>
          <p:nvPr/>
        </p:nvSpPr>
        <p:spPr>
          <a:xfrm>
            <a:off x="6675794" y="2185937"/>
            <a:ext cx="2179331" cy="461665"/>
          </a:xfrm>
          <a:prstGeom prst="rect">
            <a:avLst/>
          </a:prstGeom>
          <a:noFill/>
        </p:spPr>
        <p:txBody>
          <a:bodyPr wrap="square" rtlCol="0">
            <a:spAutoFit/>
          </a:bodyPr>
          <a:lstStyle/>
          <a:p>
            <a:pPr defTabSz="914377"/>
            <a:r>
              <a:rPr lang="en-US" sz="1200" dirty="0">
                <a:solidFill>
                  <a:prstClr val="black"/>
                </a:solidFill>
              </a:rPr>
              <a:t>Request offers based on Airline Profile</a:t>
            </a:r>
            <a:endParaRPr lang="en-US" dirty="0">
              <a:solidFill>
                <a:prstClr val="black"/>
              </a:solidFill>
            </a:endParaRPr>
          </a:p>
        </p:txBody>
      </p:sp>
      <p:sp>
        <p:nvSpPr>
          <p:cNvPr id="75" name="ZoneTexte 56">
            <a:extLst>
              <a:ext uri="{FF2B5EF4-FFF2-40B4-BE49-F238E27FC236}">
                <a16:creationId xmlns:a16="http://schemas.microsoft.com/office/drawing/2014/main" id="{4F75D591-58B1-EDED-C93C-C563A69A7290}"/>
              </a:ext>
            </a:extLst>
          </p:cNvPr>
          <p:cNvSpPr txBox="1"/>
          <p:nvPr/>
        </p:nvSpPr>
        <p:spPr>
          <a:xfrm>
            <a:off x="2641420" y="5360267"/>
            <a:ext cx="2052320" cy="461665"/>
          </a:xfrm>
          <a:prstGeom prst="rect">
            <a:avLst/>
          </a:prstGeom>
          <a:noFill/>
        </p:spPr>
        <p:txBody>
          <a:bodyPr wrap="square" rtlCol="0">
            <a:spAutoFit/>
          </a:bodyPr>
          <a:lstStyle>
            <a:defPPr>
              <a:defRPr lang="en-US"/>
            </a:defPPr>
            <a:lvl1pPr defTabSz="914377">
              <a:defRPr sz="1200">
                <a:solidFill>
                  <a:prstClr val="black"/>
                </a:solidFill>
              </a:defRPr>
            </a:lvl1pPr>
          </a:lstStyle>
          <a:p>
            <a:pPr algn="ctr"/>
            <a:r>
              <a:rPr lang="en-US" dirty="0"/>
              <a:t>Request sub-offers based on Supplier Catalog</a:t>
            </a:r>
          </a:p>
        </p:txBody>
      </p:sp>
      <p:sp>
        <p:nvSpPr>
          <p:cNvPr id="2" name="Title 1">
            <a:extLst>
              <a:ext uri="{FF2B5EF4-FFF2-40B4-BE49-F238E27FC236}">
                <a16:creationId xmlns:a16="http://schemas.microsoft.com/office/drawing/2014/main" id="{840DBB02-660A-245C-99B5-93A8E19038F1}"/>
              </a:ext>
            </a:extLst>
          </p:cNvPr>
          <p:cNvSpPr txBox="1">
            <a:spLocks/>
          </p:cNvSpPr>
          <p:nvPr/>
        </p:nvSpPr>
        <p:spPr>
          <a:xfrm>
            <a:off x="381000" y="365125"/>
            <a:ext cx="11429324" cy="6093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accent1"/>
                </a:solidFill>
                <a:latin typeface="+mn-lt"/>
                <a:ea typeface="+mj-ea"/>
                <a:cs typeface="+mj-cs"/>
              </a:defRPr>
            </a:lvl1pPr>
          </a:lstStyle>
          <a:p>
            <a:r>
              <a:rPr lang="de-CH" dirty="0" err="1"/>
              <a:t>Offer</a:t>
            </a:r>
            <a:r>
              <a:rPr lang="de-CH" dirty="0"/>
              <a:t> </a:t>
            </a:r>
            <a:r>
              <a:rPr lang="de-CH" dirty="0" err="1"/>
              <a:t>request</a:t>
            </a:r>
            <a:r>
              <a:rPr lang="de-CH" dirty="0"/>
              <a:t> / </a:t>
            </a:r>
            <a:r>
              <a:rPr lang="de-CH" dirty="0" err="1"/>
              <a:t>response</a:t>
            </a:r>
            <a:r>
              <a:rPr lang="de-CH" dirty="0"/>
              <a:t> </a:t>
            </a:r>
            <a:r>
              <a:rPr lang="de-CH" dirty="0" err="1"/>
              <a:t>flow</a:t>
            </a:r>
            <a:r>
              <a:rPr lang="de-CH" dirty="0"/>
              <a:t> </a:t>
            </a:r>
            <a:r>
              <a:rPr lang="de-CH" dirty="0" err="1"/>
              <a:t>between</a:t>
            </a:r>
            <a:r>
              <a:rPr lang="de-CH" dirty="0"/>
              <a:t> </a:t>
            </a:r>
            <a:r>
              <a:rPr lang="de-CH" dirty="0" err="1"/>
              <a:t>Retailer</a:t>
            </a:r>
            <a:r>
              <a:rPr lang="de-CH" dirty="0"/>
              <a:t> and Seller</a:t>
            </a:r>
            <a:endParaRPr lang="en-US" dirty="0"/>
          </a:p>
        </p:txBody>
      </p:sp>
      <p:pic>
        <p:nvPicPr>
          <p:cNvPr id="7" name="Picture 6" descr="A blue icon of a person with a luggage bag&#10;&#10;AI-generated content may be incorrect.">
            <a:extLst>
              <a:ext uri="{FF2B5EF4-FFF2-40B4-BE49-F238E27FC236}">
                <a16:creationId xmlns:a16="http://schemas.microsoft.com/office/drawing/2014/main" id="{FC5A1189-E979-1043-754B-8DB328C45A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5688" y="3294955"/>
            <a:ext cx="1061754" cy="1061754"/>
          </a:xfrm>
          <a:prstGeom prst="rect">
            <a:avLst/>
          </a:prstGeom>
        </p:spPr>
      </p:pic>
      <p:cxnSp>
        <p:nvCxnSpPr>
          <p:cNvPr id="21" name="Straight Arrow Connector 20">
            <a:extLst>
              <a:ext uri="{FF2B5EF4-FFF2-40B4-BE49-F238E27FC236}">
                <a16:creationId xmlns:a16="http://schemas.microsoft.com/office/drawing/2014/main" id="{1A6B6BA0-177A-0019-015C-DCB44801C6CC}"/>
              </a:ext>
            </a:extLst>
          </p:cNvPr>
          <p:cNvCxnSpPr>
            <a:cxnSpLocks/>
          </p:cNvCxnSpPr>
          <p:nvPr/>
        </p:nvCxnSpPr>
        <p:spPr>
          <a:xfrm>
            <a:off x="9608457" y="3859991"/>
            <a:ext cx="102937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6" name="Picture 25" descr="A blue square with a plane and awning&#10;&#10;AI-generated content may be incorrect.">
            <a:extLst>
              <a:ext uri="{FF2B5EF4-FFF2-40B4-BE49-F238E27FC236}">
                <a16:creationId xmlns:a16="http://schemas.microsoft.com/office/drawing/2014/main" id="{F8D85202-41C1-3306-69A6-777F53AD336B}"/>
              </a:ext>
            </a:extLst>
          </p:cNvPr>
          <p:cNvPicPr>
            <a:picLocks noChangeAspect="1"/>
          </p:cNvPicPr>
          <p:nvPr/>
        </p:nvPicPr>
        <p:blipFill>
          <a:blip r:embed="rId4"/>
          <a:stretch>
            <a:fillRect/>
          </a:stretch>
        </p:blipFill>
        <p:spPr>
          <a:xfrm>
            <a:off x="8481701" y="3435159"/>
            <a:ext cx="924005" cy="924005"/>
          </a:xfrm>
          <a:prstGeom prst="rect">
            <a:avLst/>
          </a:prstGeom>
        </p:spPr>
      </p:pic>
      <p:sp>
        <p:nvSpPr>
          <p:cNvPr id="28" name="ZoneTexte 56">
            <a:extLst>
              <a:ext uri="{FF2B5EF4-FFF2-40B4-BE49-F238E27FC236}">
                <a16:creationId xmlns:a16="http://schemas.microsoft.com/office/drawing/2014/main" id="{22550984-EC89-9442-C990-5E6AE7339A15}"/>
              </a:ext>
            </a:extLst>
          </p:cNvPr>
          <p:cNvSpPr txBox="1"/>
          <p:nvPr/>
        </p:nvSpPr>
        <p:spPr>
          <a:xfrm>
            <a:off x="8481702" y="4306772"/>
            <a:ext cx="924005" cy="276999"/>
          </a:xfrm>
          <a:prstGeom prst="rect">
            <a:avLst/>
          </a:prstGeom>
          <a:noFill/>
        </p:spPr>
        <p:txBody>
          <a:bodyPr wrap="square" rtlCol="0">
            <a:spAutoFit/>
          </a:bodyPr>
          <a:lstStyle/>
          <a:p>
            <a:pPr algn="ctr" defTabSz="914377"/>
            <a:r>
              <a:rPr lang="en-US" sz="1200" b="1" dirty="0">
                <a:solidFill>
                  <a:prstClr val="black"/>
                </a:solidFill>
              </a:rPr>
              <a:t>Seller</a:t>
            </a:r>
            <a:endParaRPr lang="en-US" b="1" dirty="0">
              <a:solidFill>
                <a:prstClr val="black"/>
              </a:solidFill>
            </a:endParaRPr>
          </a:p>
        </p:txBody>
      </p:sp>
      <p:cxnSp>
        <p:nvCxnSpPr>
          <p:cNvPr id="55" name="Connector: Elbow 54">
            <a:extLst>
              <a:ext uri="{FF2B5EF4-FFF2-40B4-BE49-F238E27FC236}">
                <a16:creationId xmlns:a16="http://schemas.microsoft.com/office/drawing/2014/main" id="{4380AE8F-7781-2CC5-A7E6-9244F1559378}"/>
              </a:ext>
            </a:extLst>
          </p:cNvPr>
          <p:cNvCxnSpPr>
            <a:cxnSpLocks/>
            <a:stCxn id="50" idx="0"/>
            <a:endCxn id="58" idx="3"/>
          </p:cNvCxnSpPr>
          <p:nvPr/>
        </p:nvCxnSpPr>
        <p:spPr>
          <a:xfrm rot="16200000" flipV="1">
            <a:off x="7369676" y="1923938"/>
            <a:ext cx="448992" cy="1849241"/>
          </a:xfrm>
          <a:prstGeom prst="bentConnector2">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18BCA70D-372F-F7A8-943E-D0AD87BDB67D}"/>
              </a:ext>
            </a:extLst>
          </p:cNvPr>
          <p:cNvSpPr/>
          <p:nvPr/>
        </p:nvSpPr>
        <p:spPr>
          <a:xfrm>
            <a:off x="4666111" y="1923151"/>
            <a:ext cx="2003440" cy="140182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C4963CE8-1F81-AB1A-B537-48E4C00873B4}"/>
              </a:ext>
            </a:extLst>
          </p:cNvPr>
          <p:cNvSpPr/>
          <p:nvPr/>
        </p:nvSpPr>
        <p:spPr>
          <a:xfrm>
            <a:off x="4666110" y="4615359"/>
            <a:ext cx="2005200" cy="140182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636BB804-F516-0707-74C4-5283FE9485E1}"/>
              </a:ext>
            </a:extLst>
          </p:cNvPr>
          <p:cNvSpPr/>
          <p:nvPr/>
        </p:nvSpPr>
        <p:spPr>
          <a:xfrm>
            <a:off x="666749" y="4615359"/>
            <a:ext cx="2005200" cy="14004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8DCA9644-5CDD-82A9-B055-51F4AF232925}"/>
              </a:ext>
            </a:extLst>
          </p:cNvPr>
          <p:cNvSpPr txBox="1"/>
          <p:nvPr/>
        </p:nvSpPr>
        <p:spPr>
          <a:xfrm>
            <a:off x="4844606" y="2779873"/>
            <a:ext cx="1509075" cy="461665"/>
          </a:xfrm>
          <a:prstGeom prst="rect">
            <a:avLst/>
          </a:prstGeom>
          <a:noFill/>
        </p:spPr>
        <p:txBody>
          <a:bodyPr wrap="square" rtlCol="0">
            <a:spAutoFit/>
          </a:bodyPr>
          <a:lstStyle>
            <a:defPPr>
              <a:defRPr lang="en-US"/>
            </a:defPPr>
            <a:lvl1pPr algn="ctr" defTabSz="914377">
              <a:defRPr sz="1200" b="1">
                <a:solidFill>
                  <a:prstClr val="black"/>
                </a:solidFill>
              </a:defRPr>
            </a:lvl1pPr>
          </a:lstStyle>
          <a:p>
            <a:r>
              <a:rPr lang="en-GB" dirty="0"/>
              <a:t>Retailer Airline A</a:t>
            </a:r>
            <a:br>
              <a:rPr lang="en-GB" dirty="0"/>
            </a:br>
            <a:r>
              <a:rPr lang="en-GB" dirty="0"/>
              <a:t>Offer Engine</a:t>
            </a:r>
          </a:p>
        </p:txBody>
      </p:sp>
      <p:sp>
        <p:nvSpPr>
          <p:cNvPr id="67" name="Airplane outbound">
            <a:extLst>
              <a:ext uri="{FF2B5EF4-FFF2-40B4-BE49-F238E27FC236}">
                <a16:creationId xmlns:a16="http://schemas.microsoft.com/office/drawing/2014/main" id="{9FFF38F2-3177-17DD-6451-518C1F585770}"/>
              </a:ext>
            </a:extLst>
          </p:cNvPr>
          <p:cNvSpPr>
            <a:spLocks noChangeAspect="1"/>
          </p:cNvSpPr>
          <p:nvPr/>
        </p:nvSpPr>
        <p:spPr>
          <a:xfrm>
            <a:off x="4901806" y="2129294"/>
            <a:ext cx="671039" cy="551743"/>
          </a:xfrm>
          <a:custGeom>
            <a:avLst/>
            <a:gdLst>
              <a:gd name="connsiteX0" fmla="*/ 314325 w 857250"/>
              <a:gd name="connsiteY0" fmla="*/ 400050 h 704850"/>
              <a:gd name="connsiteX1" fmla="*/ 371475 w 857250"/>
              <a:gd name="connsiteY1" fmla="*/ 400050 h 704850"/>
              <a:gd name="connsiteX2" fmla="*/ 190500 w 857250"/>
              <a:gd name="connsiteY2" fmla="*/ 704850 h 704850"/>
              <a:gd name="connsiteX3" fmla="*/ 247650 w 857250"/>
              <a:gd name="connsiteY3" fmla="*/ 704850 h 704850"/>
              <a:gd name="connsiteX4" fmla="*/ 571500 w 857250"/>
              <a:gd name="connsiteY4" fmla="*/ 400050 h 704850"/>
              <a:gd name="connsiteX5" fmla="*/ 742950 w 857250"/>
              <a:gd name="connsiteY5" fmla="*/ 400050 h 704850"/>
              <a:gd name="connsiteX6" fmla="*/ 743636 w 857250"/>
              <a:gd name="connsiteY6" fmla="*/ 399936 h 704850"/>
              <a:gd name="connsiteX7" fmla="*/ 857250 w 857250"/>
              <a:gd name="connsiteY7" fmla="*/ 352425 h 704850"/>
              <a:gd name="connsiteX8" fmla="*/ 743636 w 857250"/>
              <a:gd name="connsiteY8" fmla="*/ 304914 h 704850"/>
              <a:gd name="connsiteX9" fmla="*/ 742950 w 857250"/>
              <a:gd name="connsiteY9" fmla="*/ 304800 h 704850"/>
              <a:gd name="connsiteX10" fmla="*/ 571500 w 857250"/>
              <a:gd name="connsiteY10" fmla="*/ 304800 h 704850"/>
              <a:gd name="connsiteX11" fmla="*/ 247650 w 857250"/>
              <a:gd name="connsiteY11" fmla="*/ 0 h 704850"/>
              <a:gd name="connsiteX12" fmla="*/ 190500 w 857250"/>
              <a:gd name="connsiteY12" fmla="*/ 0 h 704850"/>
              <a:gd name="connsiteX13" fmla="*/ 371475 w 857250"/>
              <a:gd name="connsiteY13" fmla="*/ 304800 h 704850"/>
              <a:gd name="connsiteX14" fmla="*/ 314325 w 857250"/>
              <a:gd name="connsiteY14" fmla="*/ 304800 h 704850"/>
              <a:gd name="connsiteX15" fmla="*/ 133350 w 857250"/>
              <a:gd name="connsiteY15" fmla="*/ 333375 h 704850"/>
              <a:gd name="connsiteX16" fmla="*/ 47625 w 857250"/>
              <a:gd name="connsiteY16" fmla="*/ 238125 h 704850"/>
              <a:gd name="connsiteX17" fmla="*/ 0 w 857250"/>
              <a:gd name="connsiteY17" fmla="*/ 238125 h 704850"/>
              <a:gd name="connsiteX18" fmla="*/ 66675 w 857250"/>
              <a:gd name="connsiteY18" fmla="*/ 352425 h 704850"/>
              <a:gd name="connsiteX19" fmla="*/ 0 w 857250"/>
              <a:gd name="connsiteY19" fmla="*/ 466725 h 704850"/>
              <a:gd name="connsiteX20" fmla="*/ 47625 w 857250"/>
              <a:gd name="connsiteY20" fmla="*/ 466725 h 704850"/>
              <a:gd name="connsiteX21" fmla="*/ 133350 w 857250"/>
              <a:gd name="connsiteY21" fmla="*/ 371475 h 704850"/>
              <a:gd name="connsiteX22" fmla="*/ 314325 w 857250"/>
              <a:gd name="connsiteY22" fmla="*/ 4000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0" h="704850">
                <a:moveTo>
                  <a:pt x="314325" y="400050"/>
                </a:moveTo>
                <a:lnTo>
                  <a:pt x="371475" y="400050"/>
                </a:lnTo>
                <a:lnTo>
                  <a:pt x="190500" y="704850"/>
                </a:lnTo>
                <a:lnTo>
                  <a:pt x="247650" y="704850"/>
                </a:lnTo>
                <a:lnTo>
                  <a:pt x="571500" y="400050"/>
                </a:lnTo>
                <a:lnTo>
                  <a:pt x="742950" y="400050"/>
                </a:lnTo>
                <a:cubicBezTo>
                  <a:pt x="743181" y="400026"/>
                  <a:pt x="743410" y="399988"/>
                  <a:pt x="743636" y="399936"/>
                </a:cubicBezTo>
                <a:cubicBezTo>
                  <a:pt x="806844" y="398793"/>
                  <a:pt x="857250" y="377990"/>
                  <a:pt x="857250" y="352425"/>
                </a:cubicBezTo>
                <a:cubicBezTo>
                  <a:pt x="857250" y="326860"/>
                  <a:pt x="806844" y="306057"/>
                  <a:pt x="743636" y="304914"/>
                </a:cubicBezTo>
                <a:cubicBezTo>
                  <a:pt x="743410" y="304862"/>
                  <a:pt x="743181" y="304823"/>
                  <a:pt x="742950" y="304800"/>
                </a:cubicBezTo>
                <a:lnTo>
                  <a:pt x="571500" y="304800"/>
                </a:lnTo>
                <a:lnTo>
                  <a:pt x="247650" y="0"/>
                </a:lnTo>
                <a:lnTo>
                  <a:pt x="190500" y="0"/>
                </a:lnTo>
                <a:lnTo>
                  <a:pt x="371475" y="304800"/>
                </a:lnTo>
                <a:lnTo>
                  <a:pt x="314325" y="304800"/>
                </a:lnTo>
                <a:cubicBezTo>
                  <a:pt x="276835" y="305876"/>
                  <a:pt x="164716" y="327184"/>
                  <a:pt x="133350" y="333375"/>
                </a:cubicBezTo>
                <a:lnTo>
                  <a:pt x="47625" y="238125"/>
                </a:lnTo>
                <a:lnTo>
                  <a:pt x="0" y="238125"/>
                </a:lnTo>
                <a:lnTo>
                  <a:pt x="66675" y="352425"/>
                </a:lnTo>
                <a:lnTo>
                  <a:pt x="0" y="466725"/>
                </a:lnTo>
                <a:lnTo>
                  <a:pt x="47625" y="466725"/>
                </a:lnTo>
                <a:lnTo>
                  <a:pt x="133350" y="371475"/>
                </a:lnTo>
                <a:cubicBezTo>
                  <a:pt x="164592" y="377647"/>
                  <a:pt x="276797" y="398974"/>
                  <a:pt x="314325" y="400050"/>
                </a:cubicBezTo>
                <a:close/>
              </a:path>
            </a:pathLst>
          </a:custGeom>
          <a:solidFill>
            <a:schemeClr val="accent2"/>
          </a:solidFill>
          <a:ln w="9525" cap="flat">
            <a:noFill/>
            <a:prstDash val="solid"/>
            <a:miter/>
          </a:ln>
        </p:spPr>
        <p:txBody>
          <a:bodyPr rtlCol="0" anchor="ctr"/>
          <a:lstStyle/>
          <a:p>
            <a:endParaRPr lang="en-US" sz="2400"/>
          </a:p>
        </p:txBody>
      </p:sp>
      <p:sp>
        <p:nvSpPr>
          <p:cNvPr id="74" name="Airplane outbound">
            <a:extLst>
              <a:ext uri="{FF2B5EF4-FFF2-40B4-BE49-F238E27FC236}">
                <a16:creationId xmlns:a16="http://schemas.microsoft.com/office/drawing/2014/main" id="{059982F6-6B9D-EA26-A0FB-CAA9FE98EA5E}"/>
              </a:ext>
            </a:extLst>
          </p:cNvPr>
          <p:cNvSpPr>
            <a:spLocks noChangeAspect="1"/>
          </p:cNvSpPr>
          <p:nvPr/>
        </p:nvSpPr>
        <p:spPr>
          <a:xfrm>
            <a:off x="4970987" y="4860559"/>
            <a:ext cx="671039" cy="551743"/>
          </a:xfrm>
          <a:custGeom>
            <a:avLst/>
            <a:gdLst>
              <a:gd name="connsiteX0" fmla="*/ 314325 w 857250"/>
              <a:gd name="connsiteY0" fmla="*/ 400050 h 704850"/>
              <a:gd name="connsiteX1" fmla="*/ 371475 w 857250"/>
              <a:gd name="connsiteY1" fmla="*/ 400050 h 704850"/>
              <a:gd name="connsiteX2" fmla="*/ 190500 w 857250"/>
              <a:gd name="connsiteY2" fmla="*/ 704850 h 704850"/>
              <a:gd name="connsiteX3" fmla="*/ 247650 w 857250"/>
              <a:gd name="connsiteY3" fmla="*/ 704850 h 704850"/>
              <a:gd name="connsiteX4" fmla="*/ 571500 w 857250"/>
              <a:gd name="connsiteY4" fmla="*/ 400050 h 704850"/>
              <a:gd name="connsiteX5" fmla="*/ 742950 w 857250"/>
              <a:gd name="connsiteY5" fmla="*/ 400050 h 704850"/>
              <a:gd name="connsiteX6" fmla="*/ 743636 w 857250"/>
              <a:gd name="connsiteY6" fmla="*/ 399936 h 704850"/>
              <a:gd name="connsiteX7" fmla="*/ 857250 w 857250"/>
              <a:gd name="connsiteY7" fmla="*/ 352425 h 704850"/>
              <a:gd name="connsiteX8" fmla="*/ 743636 w 857250"/>
              <a:gd name="connsiteY8" fmla="*/ 304914 h 704850"/>
              <a:gd name="connsiteX9" fmla="*/ 742950 w 857250"/>
              <a:gd name="connsiteY9" fmla="*/ 304800 h 704850"/>
              <a:gd name="connsiteX10" fmla="*/ 571500 w 857250"/>
              <a:gd name="connsiteY10" fmla="*/ 304800 h 704850"/>
              <a:gd name="connsiteX11" fmla="*/ 247650 w 857250"/>
              <a:gd name="connsiteY11" fmla="*/ 0 h 704850"/>
              <a:gd name="connsiteX12" fmla="*/ 190500 w 857250"/>
              <a:gd name="connsiteY12" fmla="*/ 0 h 704850"/>
              <a:gd name="connsiteX13" fmla="*/ 371475 w 857250"/>
              <a:gd name="connsiteY13" fmla="*/ 304800 h 704850"/>
              <a:gd name="connsiteX14" fmla="*/ 314325 w 857250"/>
              <a:gd name="connsiteY14" fmla="*/ 304800 h 704850"/>
              <a:gd name="connsiteX15" fmla="*/ 133350 w 857250"/>
              <a:gd name="connsiteY15" fmla="*/ 333375 h 704850"/>
              <a:gd name="connsiteX16" fmla="*/ 47625 w 857250"/>
              <a:gd name="connsiteY16" fmla="*/ 238125 h 704850"/>
              <a:gd name="connsiteX17" fmla="*/ 0 w 857250"/>
              <a:gd name="connsiteY17" fmla="*/ 238125 h 704850"/>
              <a:gd name="connsiteX18" fmla="*/ 66675 w 857250"/>
              <a:gd name="connsiteY18" fmla="*/ 352425 h 704850"/>
              <a:gd name="connsiteX19" fmla="*/ 0 w 857250"/>
              <a:gd name="connsiteY19" fmla="*/ 466725 h 704850"/>
              <a:gd name="connsiteX20" fmla="*/ 47625 w 857250"/>
              <a:gd name="connsiteY20" fmla="*/ 466725 h 704850"/>
              <a:gd name="connsiteX21" fmla="*/ 133350 w 857250"/>
              <a:gd name="connsiteY21" fmla="*/ 371475 h 704850"/>
              <a:gd name="connsiteX22" fmla="*/ 314325 w 857250"/>
              <a:gd name="connsiteY22" fmla="*/ 4000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0" h="704850">
                <a:moveTo>
                  <a:pt x="314325" y="400050"/>
                </a:moveTo>
                <a:lnTo>
                  <a:pt x="371475" y="400050"/>
                </a:lnTo>
                <a:lnTo>
                  <a:pt x="190500" y="704850"/>
                </a:lnTo>
                <a:lnTo>
                  <a:pt x="247650" y="704850"/>
                </a:lnTo>
                <a:lnTo>
                  <a:pt x="571500" y="400050"/>
                </a:lnTo>
                <a:lnTo>
                  <a:pt x="742950" y="400050"/>
                </a:lnTo>
                <a:cubicBezTo>
                  <a:pt x="743181" y="400026"/>
                  <a:pt x="743410" y="399988"/>
                  <a:pt x="743636" y="399936"/>
                </a:cubicBezTo>
                <a:cubicBezTo>
                  <a:pt x="806844" y="398793"/>
                  <a:pt x="857250" y="377990"/>
                  <a:pt x="857250" y="352425"/>
                </a:cubicBezTo>
                <a:cubicBezTo>
                  <a:pt x="857250" y="326860"/>
                  <a:pt x="806844" y="306057"/>
                  <a:pt x="743636" y="304914"/>
                </a:cubicBezTo>
                <a:cubicBezTo>
                  <a:pt x="743410" y="304862"/>
                  <a:pt x="743181" y="304823"/>
                  <a:pt x="742950" y="304800"/>
                </a:cubicBezTo>
                <a:lnTo>
                  <a:pt x="571500" y="304800"/>
                </a:lnTo>
                <a:lnTo>
                  <a:pt x="247650" y="0"/>
                </a:lnTo>
                <a:lnTo>
                  <a:pt x="190500" y="0"/>
                </a:lnTo>
                <a:lnTo>
                  <a:pt x="371475" y="304800"/>
                </a:lnTo>
                <a:lnTo>
                  <a:pt x="314325" y="304800"/>
                </a:lnTo>
                <a:cubicBezTo>
                  <a:pt x="276835" y="305876"/>
                  <a:pt x="164716" y="327184"/>
                  <a:pt x="133350" y="333375"/>
                </a:cubicBezTo>
                <a:lnTo>
                  <a:pt x="47625" y="238125"/>
                </a:lnTo>
                <a:lnTo>
                  <a:pt x="0" y="238125"/>
                </a:lnTo>
                <a:lnTo>
                  <a:pt x="66675" y="352425"/>
                </a:lnTo>
                <a:lnTo>
                  <a:pt x="0" y="466725"/>
                </a:lnTo>
                <a:lnTo>
                  <a:pt x="47625" y="466725"/>
                </a:lnTo>
                <a:lnTo>
                  <a:pt x="133350" y="371475"/>
                </a:lnTo>
                <a:cubicBezTo>
                  <a:pt x="164592" y="377647"/>
                  <a:pt x="276797" y="398974"/>
                  <a:pt x="314325" y="400050"/>
                </a:cubicBezTo>
                <a:close/>
              </a:path>
            </a:pathLst>
          </a:custGeom>
          <a:solidFill>
            <a:schemeClr val="accent4"/>
          </a:solidFill>
          <a:ln w="9525" cap="flat">
            <a:noFill/>
            <a:prstDash val="solid"/>
            <a:miter/>
          </a:ln>
        </p:spPr>
        <p:txBody>
          <a:bodyPr rtlCol="0" anchor="ctr"/>
          <a:lstStyle/>
          <a:p>
            <a:endParaRPr lang="en-US" sz="2400"/>
          </a:p>
        </p:txBody>
      </p:sp>
      <p:sp>
        <p:nvSpPr>
          <p:cNvPr id="78" name="TextBox 77">
            <a:extLst>
              <a:ext uri="{FF2B5EF4-FFF2-40B4-BE49-F238E27FC236}">
                <a16:creationId xmlns:a16="http://schemas.microsoft.com/office/drawing/2014/main" id="{DF3BCF7C-2581-3AB1-73C6-B2959090D9FC}"/>
              </a:ext>
            </a:extLst>
          </p:cNvPr>
          <p:cNvSpPr txBox="1"/>
          <p:nvPr/>
        </p:nvSpPr>
        <p:spPr>
          <a:xfrm>
            <a:off x="4913787" y="5450824"/>
            <a:ext cx="1509075" cy="461665"/>
          </a:xfrm>
          <a:prstGeom prst="rect">
            <a:avLst/>
          </a:prstGeom>
          <a:noFill/>
        </p:spPr>
        <p:txBody>
          <a:bodyPr wrap="square" rtlCol="0">
            <a:spAutoFit/>
          </a:bodyPr>
          <a:lstStyle>
            <a:defPPr>
              <a:defRPr lang="en-US"/>
            </a:defPPr>
            <a:lvl1pPr algn="ctr" defTabSz="914377">
              <a:defRPr sz="1200" b="1">
                <a:solidFill>
                  <a:prstClr val="black"/>
                </a:solidFill>
              </a:defRPr>
            </a:lvl1pPr>
          </a:lstStyle>
          <a:p>
            <a:r>
              <a:rPr lang="en-GB" dirty="0"/>
              <a:t>Retailer Airline B</a:t>
            </a:r>
            <a:br>
              <a:rPr lang="en-GB" dirty="0"/>
            </a:br>
            <a:r>
              <a:rPr lang="en-GB" dirty="0"/>
              <a:t>Offer Engine</a:t>
            </a:r>
          </a:p>
        </p:txBody>
      </p:sp>
      <p:sp>
        <p:nvSpPr>
          <p:cNvPr id="79" name="Airplane outbound">
            <a:extLst>
              <a:ext uri="{FF2B5EF4-FFF2-40B4-BE49-F238E27FC236}">
                <a16:creationId xmlns:a16="http://schemas.microsoft.com/office/drawing/2014/main" id="{D0B500A8-E840-FDD2-79B5-5EF499D2E5D8}"/>
              </a:ext>
            </a:extLst>
          </p:cNvPr>
          <p:cNvSpPr>
            <a:spLocks noChangeAspect="1"/>
          </p:cNvSpPr>
          <p:nvPr/>
        </p:nvSpPr>
        <p:spPr>
          <a:xfrm>
            <a:off x="972012" y="4884469"/>
            <a:ext cx="671039" cy="551743"/>
          </a:xfrm>
          <a:custGeom>
            <a:avLst/>
            <a:gdLst>
              <a:gd name="connsiteX0" fmla="*/ 314325 w 857250"/>
              <a:gd name="connsiteY0" fmla="*/ 400050 h 704850"/>
              <a:gd name="connsiteX1" fmla="*/ 371475 w 857250"/>
              <a:gd name="connsiteY1" fmla="*/ 400050 h 704850"/>
              <a:gd name="connsiteX2" fmla="*/ 190500 w 857250"/>
              <a:gd name="connsiteY2" fmla="*/ 704850 h 704850"/>
              <a:gd name="connsiteX3" fmla="*/ 247650 w 857250"/>
              <a:gd name="connsiteY3" fmla="*/ 704850 h 704850"/>
              <a:gd name="connsiteX4" fmla="*/ 571500 w 857250"/>
              <a:gd name="connsiteY4" fmla="*/ 400050 h 704850"/>
              <a:gd name="connsiteX5" fmla="*/ 742950 w 857250"/>
              <a:gd name="connsiteY5" fmla="*/ 400050 h 704850"/>
              <a:gd name="connsiteX6" fmla="*/ 743636 w 857250"/>
              <a:gd name="connsiteY6" fmla="*/ 399936 h 704850"/>
              <a:gd name="connsiteX7" fmla="*/ 857250 w 857250"/>
              <a:gd name="connsiteY7" fmla="*/ 352425 h 704850"/>
              <a:gd name="connsiteX8" fmla="*/ 743636 w 857250"/>
              <a:gd name="connsiteY8" fmla="*/ 304914 h 704850"/>
              <a:gd name="connsiteX9" fmla="*/ 742950 w 857250"/>
              <a:gd name="connsiteY9" fmla="*/ 304800 h 704850"/>
              <a:gd name="connsiteX10" fmla="*/ 571500 w 857250"/>
              <a:gd name="connsiteY10" fmla="*/ 304800 h 704850"/>
              <a:gd name="connsiteX11" fmla="*/ 247650 w 857250"/>
              <a:gd name="connsiteY11" fmla="*/ 0 h 704850"/>
              <a:gd name="connsiteX12" fmla="*/ 190500 w 857250"/>
              <a:gd name="connsiteY12" fmla="*/ 0 h 704850"/>
              <a:gd name="connsiteX13" fmla="*/ 371475 w 857250"/>
              <a:gd name="connsiteY13" fmla="*/ 304800 h 704850"/>
              <a:gd name="connsiteX14" fmla="*/ 314325 w 857250"/>
              <a:gd name="connsiteY14" fmla="*/ 304800 h 704850"/>
              <a:gd name="connsiteX15" fmla="*/ 133350 w 857250"/>
              <a:gd name="connsiteY15" fmla="*/ 333375 h 704850"/>
              <a:gd name="connsiteX16" fmla="*/ 47625 w 857250"/>
              <a:gd name="connsiteY16" fmla="*/ 238125 h 704850"/>
              <a:gd name="connsiteX17" fmla="*/ 0 w 857250"/>
              <a:gd name="connsiteY17" fmla="*/ 238125 h 704850"/>
              <a:gd name="connsiteX18" fmla="*/ 66675 w 857250"/>
              <a:gd name="connsiteY18" fmla="*/ 352425 h 704850"/>
              <a:gd name="connsiteX19" fmla="*/ 0 w 857250"/>
              <a:gd name="connsiteY19" fmla="*/ 466725 h 704850"/>
              <a:gd name="connsiteX20" fmla="*/ 47625 w 857250"/>
              <a:gd name="connsiteY20" fmla="*/ 466725 h 704850"/>
              <a:gd name="connsiteX21" fmla="*/ 133350 w 857250"/>
              <a:gd name="connsiteY21" fmla="*/ 371475 h 704850"/>
              <a:gd name="connsiteX22" fmla="*/ 314325 w 857250"/>
              <a:gd name="connsiteY22" fmla="*/ 4000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0" h="704850">
                <a:moveTo>
                  <a:pt x="314325" y="400050"/>
                </a:moveTo>
                <a:lnTo>
                  <a:pt x="371475" y="400050"/>
                </a:lnTo>
                <a:lnTo>
                  <a:pt x="190500" y="704850"/>
                </a:lnTo>
                <a:lnTo>
                  <a:pt x="247650" y="704850"/>
                </a:lnTo>
                <a:lnTo>
                  <a:pt x="571500" y="400050"/>
                </a:lnTo>
                <a:lnTo>
                  <a:pt x="742950" y="400050"/>
                </a:lnTo>
                <a:cubicBezTo>
                  <a:pt x="743181" y="400026"/>
                  <a:pt x="743410" y="399988"/>
                  <a:pt x="743636" y="399936"/>
                </a:cubicBezTo>
                <a:cubicBezTo>
                  <a:pt x="806844" y="398793"/>
                  <a:pt x="857250" y="377990"/>
                  <a:pt x="857250" y="352425"/>
                </a:cubicBezTo>
                <a:cubicBezTo>
                  <a:pt x="857250" y="326860"/>
                  <a:pt x="806844" y="306057"/>
                  <a:pt x="743636" y="304914"/>
                </a:cubicBezTo>
                <a:cubicBezTo>
                  <a:pt x="743410" y="304862"/>
                  <a:pt x="743181" y="304823"/>
                  <a:pt x="742950" y="304800"/>
                </a:cubicBezTo>
                <a:lnTo>
                  <a:pt x="571500" y="304800"/>
                </a:lnTo>
                <a:lnTo>
                  <a:pt x="247650" y="0"/>
                </a:lnTo>
                <a:lnTo>
                  <a:pt x="190500" y="0"/>
                </a:lnTo>
                <a:lnTo>
                  <a:pt x="371475" y="304800"/>
                </a:lnTo>
                <a:lnTo>
                  <a:pt x="314325" y="304800"/>
                </a:lnTo>
                <a:cubicBezTo>
                  <a:pt x="276835" y="305876"/>
                  <a:pt x="164716" y="327184"/>
                  <a:pt x="133350" y="333375"/>
                </a:cubicBezTo>
                <a:lnTo>
                  <a:pt x="47625" y="238125"/>
                </a:lnTo>
                <a:lnTo>
                  <a:pt x="0" y="238125"/>
                </a:lnTo>
                <a:lnTo>
                  <a:pt x="66675" y="352425"/>
                </a:lnTo>
                <a:lnTo>
                  <a:pt x="0" y="466725"/>
                </a:lnTo>
                <a:lnTo>
                  <a:pt x="47625" y="466725"/>
                </a:lnTo>
                <a:lnTo>
                  <a:pt x="133350" y="371475"/>
                </a:lnTo>
                <a:cubicBezTo>
                  <a:pt x="164592" y="377647"/>
                  <a:pt x="276797" y="398974"/>
                  <a:pt x="314325" y="400050"/>
                </a:cubicBezTo>
                <a:close/>
              </a:path>
            </a:pathLst>
          </a:custGeom>
          <a:solidFill>
            <a:schemeClr val="accent5"/>
          </a:solidFill>
          <a:ln w="9525" cap="flat">
            <a:noFill/>
            <a:prstDash val="solid"/>
            <a:miter/>
          </a:ln>
        </p:spPr>
        <p:txBody>
          <a:bodyPr rtlCol="0" anchor="ctr"/>
          <a:lstStyle/>
          <a:p>
            <a:endParaRPr lang="en-US" sz="2400"/>
          </a:p>
        </p:txBody>
      </p:sp>
      <p:sp>
        <p:nvSpPr>
          <p:cNvPr id="81" name="TextBox 80">
            <a:extLst>
              <a:ext uri="{FF2B5EF4-FFF2-40B4-BE49-F238E27FC236}">
                <a16:creationId xmlns:a16="http://schemas.microsoft.com/office/drawing/2014/main" id="{60F5153D-824F-B24B-CC4B-471798DA970D}"/>
              </a:ext>
            </a:extLst>
          </p:cNvPr>
          <p:cNvSpPr txBox="1"/>
          <p:nvPr/>
        </p:nvSpPr>
        <p:spPr>
          <a:xfrm>
            <a:off x="883897" y="5539613"/>
            <a:ext cx="1509075" cy="276999"/>
          </a:xfrm>
          <a:prstGeom prst="rect">
            <a:avLst/>
          </a:prstGeom>
          <a:noFill/>
        </p:spPr>
        <p:txBody>
          <a:bodyPr wrap="square" rtlCol="0">
            <a:spAutoFit/>
          </a:bodyPr>
          <a:lstStyle>
            <a:defPPr>
              <a:defRPr lang="en-US"/>
            </a:defPPr>
            <a:lvl1pPr algn="ctr" defTabSz="914377">
              <a:defRPr sz="1200" b="1">
                <a:solidFill>
                  <a:prstClr val="black"/>
                </a:solidFill>
              </a:defRPr>
            </a:lvl1pPr>
          </a:lstStyle>
          <a:p>
            <a:r>
              <a:rPr lang="en-GB" dirty="0"/>
              <a:t>Supplier Airline C</a:t>
            </a:r>
          </a:p>
        </p:txBody>
      </p:sp>
      <p:cxnSp>
        <p:nvCxnSpPr>
          <p:cNvPr id="86" name="Connector: Elbow 85">
            <a:extLst>
              <a:ext uri="{FF2B5EF4-FFF2-40B4-BE49-F238E27FC236}">
                <a16:creationId xmlns:a16="http://schemas.microsoft.com/office/drawing/2014/main" id="{CA9BEBB2-20B8-F783-C388-B110D02749D7}"/>
              </a:ext>
            </a:extLst>
          </p:cNvPr>
          <p:cNvCxnSpPr>
            <a:cxnSpLocks/>
            <a:stCxn id="50" idx="2"/>
            <a:endCxn id="59" idx="3"/>
          </p:cNvCxnSpPr>
          <p:nvPr/>
        </p:nvCxnSpPr>
        <p:spPr>
          <a:xfrm rot="5400000">
            <a:off x="7394092" y="4191571"/>
            <a:ext cx="401918" cy="1847482"/>
          </a:xfrm>
          <a:prstGeom prst="bentConnector2">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5" name="ZoneTexte 56">
            <a:extLst>
              <a:ext uri="{FF2B5EF4-FFF2-40B4-BE49-F238E27FC236}">
                <a16:creationId xmlns:a16="http://schemas.microsoft.com/office/drawing/2014/main" id="{9CC3CE76-D436-8363-442B-136AEAE535D8}"/>
              </a:ext>
            </a:extLst>
          </p:cNvPr>
          <p:cNvSpPr txBox="1"/>
          <p:nvPr/>
        </p:nvSpPr>
        <p:spPr>
          <a:xfrm>
            <a:off x="6681988" y="5392871"/>
            <a:ext cx="2179331" cy="461665"/>
          </a:xfrm>
          <a:prstGeom prst="rect">
            <a:avLst/>
          </a:prstGeom>
          <a:noFill/>
        </p:spPr>
        <p:txBody>
          <a:bodyPr wrap="square" rtlCol="0">
            <a:spAutoFit/>
          </a:bodyPr>
          <a:lstStyle/>
          <a:p>
            <a:pPr defTabSz="914377"/>
            <a:r>
              <a:rPr lang="en-US" sz="1200" dirty="0">
                <a:solidFill>
                  <a:prstClr val="black"/>
                </a:solidFill>
              </a:rPr>
              <a:t>Request offers based on Airline Profile</a:t>
            </a:r>
            <a:endParaRPr lang="en-US" dirty="0">
              <a:solidFill>
                <a:prstClr val="black"/>
              </a:solidFill>
            </a:endParaRPr>
          </a:p>
        </p:txBody>
      </p:sp>
      <p:cxnSp>
        <p:nvCxnSpPr>
          <p:cNvPr id="100" name="Straight Arrow Connector 99">
            <a:extLst>
              <a:ext uri="{FF2B5EF4-FFF2-40B4-BE49-F238E27FC236}">
                <a16:creationId xmlns:a16="http://schemas.microsoft.com/office/drawing/2014/main" id="{50026C9C-EF49-F373-EDFB-F0F1A3BC2D56}"/>
              </a:ext>
            </a:extLst>
          </p:cNvPr>
          <p:cNvCxnSpPr>
            <a:stCxn id="59" idx="1"/>
            <a:endCxn id="60" idx="3"/>
          </p:cNvCxnSpPr>
          <p:nvPr/>
        </p:nvCxnSpPr>
        <p:spPr>
          <a:xfrm flipH="1" flipV="1">
            <a:off x="2671949" y="5315559"/>
            <a:ext cx="1994161" cy="712"/>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 name="Scroll: Vertical 101">
            <a:extLst>
              <a:ext uri="{FF2B5EF4-FFF2-40B4-BE49-F238E27FC236}">
                <a16:creationId xmlns:a16="http://schemas.microsoft.com/office/drawing/2014/main" id="{B2218F38-6E2F-D2B9-F547-B5BCD2259EE3}"/>
              </a:ext>
            </a:extLst>
          </p:cNvPr>
          <p:cNvSpPr/>
          <p:nvPr/>
        </p:nvSpPr>
        <p:spPr>
          <a:xfrm>
            <a:off x="1682120" y="4849721"/>
            <a:ext cx="682054" cy="625014"/>
          </a:xfrm>
          <a:prstGeom prst="verticalScroll">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a:spcBef>
                <a:spcPts val="800"/>
              </a:spcBef>
              <a:buSzPct val="90000"/>
            </a:pPr>
            <a:endParaRPr lang="en-GB" sz="1600" dirty="0">
              <a:solidFill>
                <a:schemeClr val="tx1"/>
              </a:solidFill>
            </a:endParaRPr>
          </a:p>
        </p:txBody>
      </p:sp>
      <p:sp>
        <p:nvSpPr>
          <p:cNvPr id="103" name="Date Placeholder 102">
            <a:extLst>
              <a:ext uri="{FF2B5EF4-FFF2-40B4-BE49-F238E27FC236}">
                <a16:creationId xmlns:a16="http://schemas.microsoft.com/office/drawing/2014/main" id="{36DBE9F7-BCCC-8AF4-57AA-FBEC8DDBD98A}"/>
              </a:ext>
            </a:extLst>
          </p:cNvPr>
          <p:cNvSpPr>
            <a:spLocks noGrp="1"/>
          </p:cNvSpPr>
          <p:nvPr>
            <p:ph type="dt" sz="half" idx="10"/>
          </p:nvPr>
        </p:nvSpPr>
        <p:spPr/>
        <p:txBody>
          <a:bodyPr/>
          <a:lstStyle/>
          <a:p>
            <a:r>
              <a:rPr lang="de-DE"/>
              <a:t>02 November 2025</a:t>
            </a:r>
            <a:endParaRPr lang="en-US"/>
          </a:p>
        </p:txBody>
      </p:sp>
      <p:sp>
        <p:nvSpPr>
          <p:cNvPr id="104" name="Footer Placeholder 103">
            <a:extLst>
              <a:ext uri="{FF2B5EF4-FFF2-40B4-BE49-F238E27FC236}">
                <a16:creationId xmlns:a16="http://schemas.microsoft.com/office/drawing/2014/main" id="{71E917C5-089A-7CF4-271B-89CB3CA7BDCD}"/>
              </a:ext>
            </a:extLst>
          </p:cNvPr>
          <p:cNvSpPr>
            <a:spLocks noGrp="1"/>
          </p:cNvSpPr>
          <p:nvPr>
            <p:ph type="ftr" sz="quarter" idx="11"/>
          </p:nvPr>
        </p:nvSpPr>
        <p:spPr/>
        <p:txBody>
          <a:bodyPr/>
          <a:lstStyle/>
          <a:p>
            <a:r>
              <a:rPr lang="en-US"/>
              <a:t>APMWG</a:t>
            </a:r>
          </a:p>
        </p:txBody>
      </p:sp>
      <p:sp>
        <p:nvSpPr>
          <p:cNvPr id="105" name="Slide Number Placeholder 104">
            <a:extLst>
              <a:ext uri="{FF2B5EF4-FFF2-40B4-BE49-F238E27FC236}">
                <a16:creationId xmlns:a16="http://schemas.microsoft.com/office/drawing/2014/main" id="{63D4C6C5-DBE2-7E06-9FF9-0F23BFBA6C0C}"/>
              </a:ext>
            </a:extLst>
          </p:cNvPr>
          <p:cNvSpPr>
            <a:spLocks noGrp="1"/>
          </p:cNvSpPr>
          <p:nvPr>
            <p:ph type="sldNum" sz="quarter" idx="12"/>
          </p:nvPr>
        </p:nvSpPr>
        <p:spPr/>
        <p:txBody>
          <a:bodyPr/>
          <a:lstStyle/>
          <a:p>
            <a:fld id="{1A9E565A-6679-4A67-8FB7-14EA342FD6E1}" type="slidenum">
              <a:rPr lang="en-US" smtClean="0"/>
              <a:pPr/>
              <a:t>11</a:t>
            </a:fld>
            <a:endParaRPr lang="en-US"/>
          </a:p>
        </p:txBody>
      </p:sp>
      <p:pic>
        <p:nvPicPr>
          <p:cNvPr id="106" name="Image 6">
            <a:extLst>
              <a:ext uri="{FF2B5EF4-FFF2-40B4-BE49-F238E27FC236}">
                <a16:creationId xmlns:a16="http://schemas.microsoft.com/office/drawing/2014/main" id="{BCF4E7ED-7D8A-C99A-51FA-1DA2552EC785}"/>
              </a:ext>
            </a:extLst>
          </p:cNvPr>
          <p:cNvPicPr>
            <a:picLocks noChangeAspect="1"/>
          </p:cNvPicPr>
          <p:nvPr/>
        </p:nvPicPr>
        <p:blipFill>
          <a:blip r:embed="rId5"/>
          <a:stretch>
            <a:fillRect/>
          </a:stretch>
        </p:blipFill>
        <p:spPr>
          <a:xfrm>
            <a:off x="5616776" y="2067010"/>
            <a:ext cx="674341" cy="674341"/>
          </a:xfrm>
          <a:prstGeom prst="rect">
            <a:avLst/>
          </a:prstGeom>
        </p:spPr>
      </p:pic>
      <p:pic>
        <p:nvPicPr>
          <p:cNvPr id="107" name="Image 6">
            <a:extLst>
              <a:ext uri="{FF2B5EF4-FFF2-40B4-BE49-F238E27FC236}">
                <a16:creationId xmlns:a16="http://schemas.microsoft.com/office/drawing/2014/main" id="{818CFFD8-0B54-EDE0-C6B5-4D667BFD48B8}"/>
              </a:ext>
            </a:extLst>
          </p:cNvPr>
          <p:cNvPicPr>
            <a:picLocks noChangeAspect="1"/>
          </p:cNvPicPr>
          <p:nvPr/>
        </p:nvPicPr>
        <p:blipFill>
          <a:blip r:embed="rId5"/>
          <a:stretch>
            <a:fillRect/>
          </a:stretch>
        </p:blipFill>
        <p:spPr>
          <a:xfrm>
            <a:off x="5572845" y="4755973"/>
            <a:ext cx="718677" cy="718677"/>
          </a:xfrm>
          <a:prstGeom prst="rect">
            <a:avLst/>
          </a:prstGeom>
        </p:spPr>
      </p:pic>
    </p:spTree>
    <p:extLst>
      <p:ext uri="{BB962C8B-B14F-4D97-AF65-F5344CB8AC3E}">
        <p14:creationId xmlns:p14="http://schemas.microsoft.com/office/powerpoint/2010/main" val="28651002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9" grpId="0"/>
      <p:bldP spid="44" grpId="0"/>
      <p:bldP spid="75" grpId="0"/>
      <p:bldP spid="28"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5EDB4-FAE3-D68D-EE1A-119F05F483E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87CB7CB-6C0E-6834-A54E-F6E463AED9F5}"/>
              </a:ext>
            </a:extLst>
          </p:cNvPr>
          <p:cNvGraphicFramePr>
            <a:graphicFrameLocks noChangeAspect="1"/>
          </p:cNvGraphicFramePr>
          <p:nvPr>
            <p:custDataLst>
              <p:tags r:id="rId1"/>
            </p:custDataLst>
            <p:extLst>
              <p:ext uri="{D42A27DB-BD31-4B8C-83A1-F6EECF244321}">
                <p14:modId xmlns:p14="http://schemas.microsoft.com/office/powerpoint/2010/main" val="2610146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9" name="think-cell data - do not delete" hidden="1">
                        <a:extLst>
                          <a:ext uri="{FF2B5EF4-FFF2-40B4-BE49-F238E27FC236}">
                            <a16:creationId xmlns:a16="http://schemas.microsoft.com/office/drawing/2014/main" id="{187CB7CB-6C0E-6834-A54E-F6E463AED9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C7E40D6E-59FF-A6F0-93EF-07819727C592}"/>
              </a:ext>
            </a:extLst>
          </p:cNvPr>
          <p:cNvPicPr>
            <a:picLocks noChangeAspect="1"/>
          </p:cNvPicPr>
          <p:nvPr/>
        </p:nvPicPr>
        <p:blipFill>
          <a:blip r:embed="rId6"/>
          <a:stretch>
            <a:fillRect/>
          </a:stretch>
        </p:blipFill>
        <p:spPr>
          <a:xfrm>
            <a:off x="2194329" y="3551753"/>
            <a:ext cx="963177" cy="963177"/>
          </a:xfrm>
          <a:prstGeom prst="rect">
            <a:avLst/>
          </a:prstGeom>
        </p:spPr>
      </p:pic>
      <p:pic>
        <p:nvPicPr>
          <p:cNvPr id="7" name="Image 6">
            <a:extLst>
              <a:ext uri="{FF2B5EF4-FFF2-40B4-BE49-F238E27FC236}">
                <a16:creationId xmlns:a16="http://schemas.microsoft.com/office/drawing/2014/main" id="{41B84B1F-6BEC-FB2B-3F49-655713C8861C}"/>
              </a:ext>
            </a:extLst>
          </p:cNvPr>
          <p:cNvPicPr>
            <a:picLocks noChangeAspect="1"/>
          </p:cNvPicPr>
          <p:nvPr/>
        </p:nvPicPr>
        <p:blipFill>
          <a:blip r:embed="rId7"/>
          <a:stretch>
            <a:fillRect/>
          </a:stretch>
        </p:blipFill>
        <p:spPr>
          <a:xfrm>
            <a:off x="3706639" y="3432283"/>
            <a:ext cx="1202117" cy="1202117"/>
          </a:xfrm>
          <a:prstGeom prst="rect">
            <a:avLst/>
          </a:prstGeom>
        </p:spPr>
      </p:pic>
      <p:pic>
        <p:nvPicPr>
          <p:cNvPr id="6" name="Image 5">
            <a:extLst>
              <a:ext uri="{FF2B5EF4-FFF2-40B4-BE49-F238E27FC236}">
                <a16:creationId xmlns:a16="http://schemas.microsoft.com/office/drawing/2014/main" id="{336674A1-4E35-9576-88F5-7099BCA39460}"/>
              </a:ext>
            </a:extLst>
          </p:cNvPr>
          <p:cNvPicPr>
            <a:picLocks noChangeAspect="1"/>
          </p:cNvPicPr>
          <p:nvPr/>
        </p:nvPicPr>
        <p:blipFill>
          <a:blip r:embed="rId6"/>
          <a:stretch>
            <a:fillRect/>
          </a:stretch>
        </p:blipFill>
        <p:spPr>
          <a:xfrm>
            <a:off x="9094699" y="3592508"/>
            <a:ext cx="963177" cy="963177"/>
          </a:xfrm>
          <a:prstGeom prst="rect">
            <a:avLst/>
          </a:prstGeom>
        </p:spPr>
      </p:pic>
      <p:pic>
        <p:nvPicPr>
          <p:cNvPr id="8" name="Image 7">
            <a:extLst>
              <a:ext uri="{FF2B5EF4-FFF2-40B4-BE49-F238E27FC236}">
                <a16:creationId xmlns:a16="http://schemas.microsoft.com/office/drawing/2014/main" id="{12B99AF5-937F-530A-29B4-CC2278663FB1}"/>
              </a:ext>
            </a:extLst>
          </p:cNvPr>
          <p:cNvPicPr>
            <a:picLocks noChangeAspect="1"/>
          </p:cNvPicPr>
          <p:nvPr/>
        </p:nvPicPr>
        <p:blipFill>
          <a:blip r:embed="rId7"/>
          <a:stretch>
            <a:fillRect/>
          </a:stretch>
        </p:blipFill>
        <p:spPr>
          <a:xfrm>
            <a:off x="7332532" y="3473038"/>
            <a:ext cx="1202117" cy="1202117"/>
          </a:xfrm>
          <a:prstGeom prst="rect">
            <a:avLst/>
          </a:prstGeom>
        </p:spPr>
      </p:pic>
      <p:pic>
        <p:nvPicPr>
          <p:cNvPr id="14" name="Image 13">
            <a:extLst>
              <a:ext uri="{FF2B5EF4-FFF2-40B4-BE49-F238E27FC236}">
                <a16:creationId xmlns:a16="http://schemas.microsoft.com/office/drawing/2014/main" id="{0C6B8010-9CBB-C45D-1A4C-CF702A104BBA}"/>
              </a:ext>
            </a:extLst>
          </p:cNvPr>
          <p:cNvPicPr>
            <a:picLocks noChangeAspect="1"/>
          </p:cNvPicPr>
          <p:nvPr/>
        </p:nvPicPr>
        <p:blipFill>
          <a:blip r:embed="rId8"/>
          <a:stretch>
            <a:fillRect/>
          </a:stretch>
        </p:blipFill>
        <p:spPr>
          <a:xfrm>
            <a:off x="3096140" y="1791288"/>
            <a:ext cx="1189529" cy="1189529"/>
          </a:xfrm>
          <a:prstGeom prst="rect">
            <a:avLst/>
          </a:prstGeom>
        </p:spPr>
      </p:pic>
      <p:sp>
        <p:nvSpPr>
          <p:cNvPr id="19" name="Ellipse 18">
            <a:extLst>
              <a:ext uri="{FF2B5EF4-FFF2-40B4-BE49-F238E27FC236}">
                <a16:creationId xmlns:a16="http://schemas.microsoft.com/office/drawing/2014/main" id="{FCF3E82D-95E0-7ECC-EA7E-981BA5D07162}"/>
              </a:ext>
            </a:extLst>
          </p:cNvPr>
          <p:cNvSpPr/>
          <p:nvPr/>
        </p:nvSpPr>
        <p:spPr>
          <a:xfrm>
            <a:off x="1890428" y="3026669"/>
            <a:ext cx="3544311" cy="2046613"/>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Ellipse 19">
            <a:extLst>
              <a:ext uri="{FF2B5EF4-FFF2-40B4-BE49-F238E27FC236}">
                <a16:creationId xmlns:a16="http://schemas.microsoft.com/office/drawing/2014/main" id="{5D45342F-21BD-6696-67A2-2C7597573742}"/>
              </a:ext>
            </a:extLst>
          </p:cNvPr>
          <p:cNvSpPr/>
          <p:nvPr/>
        </p:nvSpPr>
        <p:spPr>
          <a:xfrm>
            <a:off x="6946604" y="3026669"/>
            <a:ext cx="3544311" cy="2093814"/>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Image 22">
            <a:extLst>
              <a:ext uri="{FF2B5EF4-FFF2-40B4-BE49-F238E27FC236}">
                <a16:creationId xmlns:a16="http://schemas.microsoft.com/office/drawing/2014/main" id="{2FC6A4CB-5453-DBB9-C894-F16A40735978}"/>
              </a:ext>
            </a:extLst>
          </p:cNvPr>
          <p:cNvPicPr>
            <a:picLocks noChangeAspect="1"/>
          </p:cNvPicPr>
          <p:nvPr/>
        </p:nvPicPr>
        <p:blipFill>
          <a:blip r:embed="rId8"/>
          <a:stretch>
            <a:fillRect/>
          </a:stretch>
        </p:blipFill>
        <p:spPr>
          <a:xfrm>
            <a:off x="8314154" y="1814215"/>
            <a:ext cx="1189529" cy="1189529"/>
          </a:xfrm>
          <a:prstGeom prst="rect">
            <a:avLst/>
          </a:prstGeom>
        </p:spPr>
      </p:pic>
      <p:cxnSp>
        <p:nvCxnSpPr>
          <p:cNvPr id="31" name="Connecteur en angle 30">
            <a:extLst>
              <a:ext uri="{FF2B5EF4-FFF2-40B4-BE49-F238E27FC236}">
                <a16:creationId xmlns:a16="http://schemas.microsoft.com/office/drawing/2014/main" id="{9D939F30-24E7-6703-DD35-0FB489439814}"/>
              </a:ext>
            </a:extLst>
          </p:cNvPr>
          <p:cNvCxnSpPr>
            <a:cxnSpLocks/>
            <a:stCxn id="8" idx="0"/>
            <a:endCxn id="5" idx="0"/>
          </p:cNvCxnSpPr>
          <p:nvPr/>
        </p:nvCxnSpPr>
        <p:spPr>
          <a:xfrm rot="16200000" flipH="1" flipV="1">
            <a:off x="5265397" y="883558"/>
            <a:ext cx="78715" cy="5257673"/>
          </a:xfrm>
          <a:prstGeom prst="bentConnector3">
            <a:avLst>
              <a:gd name="adj1" fmla="val -29041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Connecteur en angle 33">
            <a:extLst>
              <a:ext uri="{FF2B5EF4-FFF2-40B4-BE49-F238E27FC236}">
                <a16:creationId xmlns:a16="http://schemas.microsoft.com/office/drawing/2014/main" id="{0F7206DD-3DA4-A786-45BE-183371D07888}"/>
              </a:ext>
            </a:extLst>
          </p:cNvPr>
          <p:cNvCxnSpPr>
            <a:cxnSpLocks/>
            <a:stCxn id="7" idx="2"/>
            <a:endCxn id="6" idx="2"/>
          </p:cNvCxnSpPr>
          <p:nvPr/>
        </p:nvCxnSpPr>
        <p:spPr>
          <a:xfrm rot="5400000" flipH="1" flipV="1">
            <a:off x="6902635" y="1960748"/>
            <a:ext cx="78715" cy="5268590"/>
          </a:xfrm>
          <a:prstGeom prst="bentConnector3">
            <a:avLst>
              <a:gd name="adj1" fmla="val -29041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a:extLst>
              <a:ext uri="{FF2B5EF4-FFF2-40B4-BE49-F238E27FC236}">
                <a16:creationId xmlns:a16="http://schemas.microsoft.com/office/drawing/2014/main" id="{25DABA02-890E-0BEF-0DDC-F5803379FC31}"/>
              </a:ext>
            </a:extLst>
          </p:cNvPr>
          <p:cNvCxnSpPr>
            <a:stCxn id="14" idx="3"/>
            <a:endCxn id="23" idx="1"/>
          </p:cNvCxnSpPr>
          <p:nvPr/>
        </p:nvCxnSpPr>
        <p:spPr>
          <a:xfrm>
            <a:off x="4285669" y="2386053"/>
            <a:ext cx="4028485" cy="2292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ZoneTexte 38">
            <a:extLst>
              <a:ext uri="{FF2B5EF4-FFF2-40B4-BE49-F238E27FC236}">
                <a16:creationId xmlns:a16="http://schemas.microsoft.com/office/drawing/2014/main" id="{FAD678E9-31D3-8043-9161-1489A9934923}"/>
              </a:ext>
            </a:extLst>
          </p:cNvPr>
          <p:cNvSpPr txBox="1"/>
          <p:nvPr/>
        </p:nvSpPr>
        <p:spPr>
          <a:xfrm>
            <a:off x="5685593" y="2160149"/>
            <a:ext cx="1532792" cy="276999"/>
          </a:xfrm>
          <a:prstGeom prst="rect">
            <a:avLst/>
          </a:prstGeom>
          <a:noFill/>
        </p:spPr>
        <p:txBody>
          <a:bodyPr wrap="none" rtlCol="0">
            <a:spAutoFit/>
          </a:bodyPr>
          <a:lstStyle/>
          <a:p>
            <a:r>
              <a:rPr lang="en-US" sz="1200" dirty="0">
                <a:latin typeface="Montserrat" pitchFamily="2" charset="77"/>
              </a:rPr>
              <a:t>Retail agreement</a:t>
            </a:r>
            <a:endParaRPr lang="en-US" dirty="0">
              <a:latin typeface="Montserrat" pitchFamily="2" charset="77"/>
            </a:endParaRPr>
          </a:p>
        </p:txBody>
      </p:sp>
      <p:sp>
        <p:nvSpPr>
          <p:cNvPr id="40" name="ZoneTexte 39">
            <a:extLst>
              <a:ext uri="{FF2B5EF4-FFF2-40B4-BE49-F238E27FC236}">
                <a16:creationId xmlns:a16="http://schemas.microsoft.com/office/drawing/2014/main" id="{A43AB24B-9646-4B70-3CC5-5678CBB12EAF}"/>
              </a:ext>
            </a:extLst>
          </p:cNvPr>
          <p:cNvSpPr txBox="1"/>
          <p:nvPr/>
        </p:nvSpPr>
        <p:spPr>
          <a:xfrm>
            <a:off x="3135253" y="1551897"/>
            <a:ext cx="803425" cy="276999"/>
          </a:xfrm>
          <a:prstGeom prst="rect">
            <a:avLst/>
          </a:prstGeom>
          <a:noFill/>
        </p:spPr>
        <p:txBody>
          <a:bodyPr wrap="none" rtlCol="0">
            <a:spAutoFit/>
          </a:bodyPr>
          <a:lstStyle/>
          <a:p>
            <a:r>
              <a:rPr lang="en-US" sz="1200" dirty="0" err="1">
                <a:latin typeface="Montserrat" pitchFamily="2" charset="77"/>
              </a:rPr>
              <a:t>Coorp</a:t>
            </a:r>
            <a:r>
              <a:rPr lang="en-US" sz="1200" dirty="0">
                <a:latin typeface="Montserrat" pitchFamily="2" charset="77"/>
              </a:rPr>
              <a:t> A</a:t>
            </a:r>
            <a:endParaRPr lang="en-US" dirty="0">
              <a:latin typeface="Montserrat" pitchFamily="2" charset="77"/>
            </a:endParaRPr>
          </a:p>
        </p:txBody>
      </p:sp>
      <p:sp>
        <p:nvSpPr>
          <p:cNvPr id="41" name="ZoneTexte 40">
            <a:extLst>
              <a:ext uri="{FF2B5EF4-FFF2-40B4-BE49-F238E27FC236}">
                <a16:creationId xmlns:a16="http://schemas.microsoft.com/office/drawing/2014/main" id="{0C98F670-7614-6AA2-10DE-4E9B3B445C8F}"/>
              </a:ext>
            </a:extLst>
          </p:cNvPr>
          <p:cNvSpPr txBox="1"/>
          <p:nvPr/>
        </p:nvSpPr>
        <p:spPr>
          <a:xfrm>
            <a:off x="8490832" y="1591009"/>
            <a:ext cx="808235" cy="276999"/>
          </a:xfrm>
          <a:prstGeom prst="rect">
            <a:avLst/>
          </a:prstGeom>
          <a:noFill/>
        </p:spPr>
        <p:txBody>
          <a:bodyPr wrap="none" rtlCol="0">
            <a:spAutoFit/>
          </a:bodyPr>
          <a:lstStyle/>
          <a:p>
            <a:r>
              <a:rPr lang="en-US" sz="1200" dirty="0" err="1">
                <a:latin typeface="Montserrat" pitchFamily="2" charset="77"/>
              </a:rPr>
              <a:t>Coorp</a:t>
            </a:r>
            <a:r>
              <a:rPr lang="en-US" sz="1200" dirty="0">
                <a:latin typeface="Montserrat" pitchFamily="2" charset="77"/>
              </a:rPr>
              <a:t> B</a:t>
            </a:r>
            <a:endParaRPr lang="en-US" dirty="0">
              <a:latin typeface="Montserrat" pitchFamily="2" charset="77"/>
            </a:endParaRPr>
          </a:p>
        </p:txBody>
      </p:sp>
      <p:cxnSp>
        <p:nvCxnSpPr>
          <p:cNvPr id="43" name="Connecteur droit avec flèche 42">
            <a:extLst>
              <a:ext uri="{FF2B5EF4-FFF2-40B4-BE49-F238E27FC236}">
                <a16:creationId xmlns:a16="http://schemas.microsoft.com/office/drawing/2014/main" id="{501B2A18-3AF9-44D0-268E-317B98857271}"/>
              </a:ext>
            </a:extLst>
          </p:cNvPr>
          <p:cNvCxnSpPr>
            <a:cxnSpLocks/>
            <a:stCxn id="6" idx="3"/>
          </p:cNvCxnSpPr>
          <p:nvPr/>
        </p:nvCxnSpPr>
        <p:spPr>
          <a:xfrm>
            <a:off x="10057876" y="4074097"/>
            <a:ext cx="777400" cy="6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6AA19FD4-2969-BCCA-74C4-AC44A979A39A}"/>
              </a:ext>
            </a:extLst>
          </p:cNvPr>
          <p:cNvCxnSpPr>
            <a:cxnSpLocks/>
          </p:cNvCxnSpPr>
          <p:nvPr/>
        </p:nvCxnSpPr>
        <p:spPr>
          <a:xfrm flipH="1">
            <a:off x="1406655" y="4098931"/>
            <a:ext cx="805598" cy="33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5144ECAB-2721-79E8-DD77-7D528D93520A}"/>
              </a:ext>
            </a:extLst>
          </p:cNvPr>
          <p:cNvSpPr txBox="1"/>
          <p:nvPr/>
        </p:nvSpPr>
        <p:spPr>
          <a:xfrm>
            <a:off x="2123748" y="5460351"/>
            <a:ext cx="1241045" cy="276999"/>
          </a:xfrm>
          <a:prstGeom prst="rect">
            <a:avLst/>
          </a:prstGeom>
          <a:noFill/>
        </p:spPr>
        <p:txBody>
          <a:bodyPr wrap="none" rtlCol="0">
            <a:spAutoFit/>
          </a:bodyPr>
          <a:lstStyle/>
          <a:p>
            <a:r>
              <a:rPr lang="en-US" sz="1200" dirty="0">
                <a:latin typeface="Montserrat" pitchFamily="2" charset="77"/>
              </a:rPr>
              <a:t>Shop A retails</a:t>
            </a:r>
            <a:endParaRPr lang="en-US" dirty="0">
              <a:latin typeface="Montserrat" pitchFamily="2" charset="77"/>
            </a:endParaRPr>
          </a:p>
        </p:txBody>
      </p:sp>
      <p:sp>
        <p:nvSpPr>
          <p:cNvPr id="58" name="ZoneTexte 57">
            <a:extLst>
              <a:ext uri="{FF2B5EF4-FFF2-40B4-BE49-F238E27FC236}">
                <a16:creationId xmlns:a16="http://schemas.microsoft.com/office/drawing/2014/main" id="{189EF907-EE76-1196-CCE4-B27AD6E33A64}"/>
              </a:ext>
            </a:extLst>
          </p:cNvPr>
          <p:cNvSpPr txBox="1"/>
          <p:nvPr/>
        </p:nvSpPr>
        <p:spPr>
          <a:xfrm>
            <a:off x="8946193" y="5460351"/>
            <a:ext cx="1241045" cy="276999"/>
          </a:xfrm>
          <a:prstGeom prst="rect">
            <a:avLst/>
          </a:prstGeom>
          <a:noFill/>
        </p:spPr>
        <p:txBody>
          <a:bodyPr wrap="none" rtlCol="0">
            <a:spAutoFit/>
          </a:bodyPr>
          <a:lstStyle/>
          <a:p>
            <a:r>
              <a:rPr lang="en-US" sz="1200" dirty="0">
                <a:latin typeface="Montserrat" pitchFamily="2" charset="77"/>
              </a:rPr>
              <a:t>Shop B retails</a:t>
            </a:r>
            <a:endParaRPr lang="en-US" dirty="0">
              <a:latin typeface="Montserrat" pitchFamily="2" charset="77"/>
            </a:endParaRPr>
          </a:p>
        </p:txBody>
      </p:sp>
      <p:cxnSp>
        <p:nvCxnSpPr>
          <p:cNvPr id="67" name="Connecteur droit avec flèche 66">
            <a:extLst>
              <a:ext uri="{FF2B5EF4-FFF2-40B4-BE49-F238E27FC236}">
                <a16:creationId xmlns:a16="http://schemas.microsoft.com/office/drawing/2014/main" id="{840C034B-72B1-5B7B-7AAE-93C287258083}"/>
              </a:ext>
            </a:extLst>
          </p:cNvPr>
          <p:cNvCxnSpPr>
            <a:stCxn id="7" idx="1"/>
            <a:endCxn id="5" idx="3"/>
          </p:cNvCxnSpPr>
          <p:nvPr/>
        </p:nvCxnSpPr>
        <p:spPr>
          <a:xfrm flipH="1">
            <a:off x="3157506" y="4033342"/>
            <a:ext cx="5491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Connecteur droit avec flèche 70">
            <a:extLst>
              <a:ext uri="{FF2B5EF4-FFF2-40B4-BE49-F238E27FC236}">
                <a16:creationId xmlns:a16="http://schemas.microsoft.com/office/drawing/2014/main" id="{02A6CD20-D5F1-C407-F835-135DB7630436}"/>
              </a:ext>
            </a:extLst>
          </p:cNvPr>
          <p:cNvCxnSpPr>
            <a:stCxn id="8" idx="3"/>
            <a:endCxn id="6" idx="1"/>
          </p:cNvCxnSpPr>
          <p:nvPr/>
        </p:nvCxnSpPr>
        <p:spPr>
          <a:xfrm>
            <a:off x="8534649" y="4074097"/>
            <a:ext cx="5600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F2B21175-1104-5353-1267-9703315F75AB}"/>
              </a:ext>
            </a:extLst>
          </p:cNvPr>
          <p:cNvSpPr txBox="1">
            <a:spLocks/>
          </p:cNvSpPr>
          <p:nvPr/>
        </p:nvSpPr>
        <p:spPr>
          <a:xfrm>
            <a:off x="533400" y="517525"/>
            <a:ext cx="11429324" cy="6093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accent1"/>
                </a:solidFill>
                <a:latin typeface="+mn-lt"/>
                <a:ea typeface="+mj-ea"/>
                <a:cs typeface="+mj-cs"/>
              </a:defRPr>
            </a:lvl1pPr>
          </a:lstStyle>
          <a:p>
            <a:r>
              <a:rPr lang="en-IN" dirty="0"/>
              <a:t>Business Problem to solve</a:t>
            </a:r>
          </a:p>
        </p:txBody>
      </p:sp>
      <p:sp>
        <p:nvSpPr>
          <p:cNvPr id="10" name="ZoneTexte 56">
            <a:extLst>
              <a:ext uri="{FF2B5EF4-FFF2-40B4-BE49-F238E27FC236}">
                <a16:creationId xmlns:a16="http://schemas.microsoft.com/office/drawing/2014/main" id="{4A955150-238C-BA5A-6A86-0D9E895C0DB3}"/>
              </a:ext>
            </a:extLst>
          </p:cNvPr>
          <p:cNvSpPr txBox="1"/>
          <p:nvPr/>
        </p:nvSpPr>
        <p:spPr>
          <a:xfrm>
            <a:off x="3901030" y="4975537"/>
            <a:ext cx="1635384" cy="276999"/>
          </a:xfrm>
          <a:prstGeom prst="rect">
            <a:avLst/>
          </a:prstGeom>
          <a:noFill/>
        </p:spPr>
        <p:txBody>
          <a:bodyPr wrap="none" rtlCol="0">
            <a:spAutoFit/>
          </a:bodyPr>
          <a:lstStyle/>
          <a:p>
            <a:r>
              <a:rPr lang="en-US" sz="1200" dirty="0">
                <a:latin typeface="Montserrat" pitchFamily="2" charset="77"/>
              </a:rPr>
              <a:t>Shop A production</a:t>
            </a:r>
            <a:endParaRPr lang="en-US" dirty="0">
              <a:latin typeface="Montserrat" pitchFamily="2" charset="77"/>
            </a:endParaRPr>
          </a:p>
        </p:txBody>
      </p:sp>
      <p:sp>
        <p:nvSpPr>
          <p:cNvPr id="11" name="ZoneTexte 56">
            <a:extLst>
              <a:ext uri="{FF2B5EF4-FFF2-40B4-BE49-F238E27FC236}">
                <a16:creationId xmlns:a16="http://schemas.microsoft.com/office/drawing/2014/main" id="{A2C01B88-0C8D-44C5-6A33-7D632B669678}"/>
              </a:ext>
            </a:extLst>
          </p:cNvPr>
          <p:cNvSpPr txBox="1"/>
          <p:nvPr/>
        </p:nvSpPr>
        <p:spPr>
          <a:xfrm>
            <a:off x="7083375" y="4981985"/>
            <a:ext cx="1640193" cy="276999"/>
          </a:xfrm>
          <a:prstGeom prst="rect">
            <a:avLst/>
          </a:prstGeom>
          <a:noFill/>
        </p:spPr>
        <p:txBody>
          <a:bodyPr wrap="none" rtlCol="0">
            <a:spAutoFit/>
          </a:bodyPr>
          <a:lstStyle/>
          <a:p>
            <a:r>
              <a:rPr lang="en-US" sz="1200" dirty="0">
                <a:latin typeface="Montserrat" pitchFamily="2" charset="77"/>
              </a:rPr>
              <a:t>Shop B production</a:t>
            </a:r>
            <a:endParaRPr lang="en-US" dirty="0">
              <a:latin typeface="Montserrat" pitchFamily="2" charset="77"/>
            </a:endParaRPr>
          </a:p>
        </p:txBody>
      </p:sp>
      <p:sp>
        <p:nvSpPr>
          <p:cNvPr id="2" name="Date Placeholder 1">
            <a:extLst>
              <a:ext uri="{FF2B5EF4-FFF2-40B4-BE49-F238E27FC236}">
                <a16:creationId xmlns:a16="http://schemas.microsoft.com/office/drawing/2014/main" id="{73A9C282-E142-8537-897C-B564145040FD}"/>
              </a:ext>
            </a:extLst>
          </p:cNvPr>
          <p:cNvSpPr>
            <a:spLocks noGrp="1"/>
          </p:cNvSpPr>
          <p:nvPr>
            <p:ph type="dt" sz="half" idx="10"/>
          </p:nvPr>
        </p:nvSpPr>
        <p:spPr/>
        <p:txBody>
          <a:bodyPr/>
          <a:lstStyle/>
          <a:p>
            <a:r>
              <a:rPr lang="de-DE"/>
              <a:t>02 November 2025</a:t>
            </a:r>
            <a:endParaRPr lang="en-US"/>
          </a:p>
        </p:txBody>
      </p:sp>
      <p:sp>
        <p:nvSpPr>
          <p:cNvPr id="3" name="Footer Placeholder 2">
            <a:extLst>
              <a:ext uri="{FF2B5EF4-FFF2-40B4-BE49-F238E27FC236}">
                <a16:creationId xmlns:a16="http://schemas.microsoft.com/office/drawing/2014/main" id="{A7567F6D-B197-158A-822B-9EBE41C47FB0}"/>
              </a:ext>
            </a:extLst>
          </p:cNvPr>
          <p:cNvSpPr>
            <a:spLocks noGrp="1"/>
          </p:cNvSpPr>
          <p:nvPr>
            <p:ph type="ftr" sz="quarter" idx="11"/>
          </p:nvPr>
        </p:nvSpPr>
        <p:spPr/>
        <p:txBody>
          <a:bodyPr/>
          <a:lstStyle/>
          <a:p>
            <a:r>
              <a:rPr lang="en-US"/>
              <a:t>APMWG</a:t>
            </a:r>
          </a:p>
        </p:txBody>
      </p:sp>
      <p:sp>
        <p:nvSpPr>
          <p:cNvPr id="12" name="Slide Number Placeholder 11">
            <a:extLst>
              <a:ext uri="{FF2B5EF4-FFF2-40B4-BE49-F238E27FC236}">
                <a16:creationId xmlns:a16="http://schemas.microsoft.com/office/drawing/2014/main" id="{9D2B249A-F6C7-9846-E9C6-C51561C87ABD}"/>
              </a:ext>
            </a:extLst>
          </p:cNvPr>
          <p:cNvSpPr>
            <a:spLocks noGrp="1"/>
          </p:cNvSpPr>
          <p:nvPr>
            <p:ph type="sldNum" sz="quarter" idx="12"/>
          </p:nvPr>
        </p:nvSpPr>
        <p:spPr/>
        <p:txBody>
          <a:bodyPr/>
          <a:lstStyle/>
          <a:p>
            <a:fld id="{1A9E565A-6679-4A67-8FB7-14EA342FD6E1}" type="slidenum">
              <a:rPr lang="en-US" smtClean="0"/>
              <a:pPr/>
              <a:t>12</a:t>
            </a:fld>
            <a:endParaRPr lang="en-US"/>
          </a:p>
        </p:txBody>
      </p:sp>
      <p:sp>
        <p:nvSpPr>
          <p:cNvPr id="27" name="Oval 26">
            <a:extLst>
              <a:ext uri="{FF2B5EF4-FFF2-40B4-BE49-F238E27FC236}">
                <a16:creationId xmlns:a16="http://schemas.microsoft.com/office/drawing/2014/main" id="{C723FD8C-9203-A6C4-F9B5-61FE6D5ABE97}"/>
              </a:ext>
            </a:extLst>
          </p:cNvPr>
          <p:cNvSpPr/>
          <p:nvPr/>
        </p:nvSpPr>
        <p:spPr>
          <a:xfrm>
            <a:off x="187384" y="3480154"/>
            <a:ext cx="1050170" cy="105017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ZoneTexte 56">
            <a:extLst>
              <a:ext uri="{FF2B5EF4-FFF2-40B4-BE49-F238E27FC236}">
                <a16:creationId xmlns:a16="http://schemas.microsoft.com/office/drawing/2014/main" id="{3842667B-8C8D-E3E8-DDAA-2C7772FE16B4}"/>
              </a:ext>
            </a:extLst>
          </p:cNvPr>
          <p:cNvSpPr txBox="1"/>
          <p:nvPr/>
        </p:nvSpPr>
        <p:spPr>
          <a:xfrm>
            <a:off x="250466" y="4501682"/>
            <a:ext cx="924005" cy="276999"/>
          </a:xfrm>
          <a:prstGeom prst="rect">
            <a:avLst/>
          </a:prstGeom>
          <a:noFill/>
        </p:spPr>
        <p:txBody>
          <a:bodyPr wrap="square" rtlCol="0">
            <a:spAutoFit/>
          </a:bodyPr>
          <a:lstStyle/>
          <a:p>
            <a:pPr algn="ctr" defTabSz="914377"/>
            <a:r>
              <a:rPr lang="en-US" sz="1200" dirty="0">
                <a:solidFill>
                  <a:prstClr val="black"/>
                </a:solidFill>
              </a:rPr>
              <a:t>Traveler</a:t>
            </a:r>
            <a:endParaRPr lang="en-US" dirty="0">
              <a:solidFill>
                <a:prstClr val="black"/>
              </a:solidFill>
            </a:endParaRPr>
          </a:p>
        </p:txBody>
      </p:sp>
      <p:pic>
        <p:nvPicPr>
          <p:cNvPr id="29" name="Picture 28" descr="A blue icon of a person with a luggage bag&#10;&#10;AI-generated content may be incorrect.">
            <a:extLst>
              <a:ext uri="{FF2B5EF4-FFF2-40B4-BE49-F238E27FC236}">
                <a16:creationId xmlns:a16="http://schemas.microsoft.com/office/drawing/2014/main" id="{A334A81A-595D-4CE5-ED22-D0F790A2A38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2108" y="3439431"/>
            <a:ext cx="1061754" cy="1061754"/>
          </a:xfrm>
          <a:prstGeom prst="rect">
            <a:avLst/>
          </a:prstGeom>
        </p:spPr>
      </p:pic>
      <p:sp>
        <p:nvSpPr>
          <p:cNvPr id="30" name="Oval 29">
            <a:extLst>
              <a:ext uri="{FF2B5EF4-FFF2-40B4-BE49-F238E27FC236}">
                <a16:creationId xmlns:a16="http://schemas.microsoft.com/office/drawing/2014/main" id="{036E798E-F3B6-85BB-1C05-F0256FF4AD27}"/>
              </a:ext>
            </a:extLst>
          </p:cNvPr>
          <p:cNvSpPr/>
          <p:nvPr/>
        </p:nvSpPr>
        <p:spPr>
          <a:xfrm>
            <a:off x="10893414" y="3469723"/>
            <a:ext cx="1050170" cy="105017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ZoneTexte 56">
            <a:extLst>
              <a:ext uri="{FF2B5EF4-FFF2-40B4-BE49-F238E27FC236}">
                <a16:creationId xmlns:a16="http://schemas.microsoft.com/office/drawing/2014/main" id="{4691FB01-9EF4-FF9E-67DD-4139742A61EE}"/>
              </a:ext>
            </a:extLst>
          </p:cNvPr>
          <p:cNvSpPr txBox="1"/>
          <p:nvPr/>
        </p:nvSpPr>
        <p:spPr>
          <a:xfrm>
            <a:off x="10956496" y="4491251"/>
            <a:ext cx="924005" cy="276999"/>
          </a:xfrm>
          <a:prstGeom prst="rect">
            <a:avLst/>
          </a:prstGeom>
          <a:noFill/>
        </p:spPr>
        <p:txBody>
          <a:bodyPr wrap="square" rtlCol="0">
            <a:spAutoFit/>
          </a:bodyPr>
          <a:lstStyle/>
          <a:p>
            <a:pPr algn="ctr" defTabSz="914377"/>
            <a:r>
              <a:rPr lang="en-US" sz="1200" dirty="0">
                <a:solidFill>
                  <a:prstClr val="black"/>
                </a:solidFill>
              </a:rPr>
              <a:t>Traveler</a:t>
            </a:r>
            <a:endParaRPr lang="en-US" dirty="0">
              <a:solidFill>
                <a:prstClr val="black"/>
              </a:solidFill>
            </a:endParaRPr>
          </a:p>
        </p:txBody>
      </p:sp>
      <p:pic>
        <p:nvPicPr>
          <p:cNvPr id="33" name="Picture 32" descr="A blue icon of a person with a luggage bag&#10;&#10;AI-generated content may be incorrect.">
            <a:extLst>
              <a:ext uri="{FF2B5EF4-FFF2-40B4-BE49-F238E27FC236}">
                <a16:creationId xmlns:a16="http://schemas.microsoft.com/office/drawing/2014/main" id="{79F2F674-3574-504E-05D7-146675897D0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18138" y="3429000"/>
            <a:ext cx="1061754" cy="1061754"/>
          </a:xfrm>
          <a:prstGeom prst="rect">
            <a:avLst/>
          </a:prstGeom>
        </p:spPr>
      </p:pic>
    </p:spTree>
    <p:extLst>
      <p:ext uri="{BB962C8B-B14F-4D97-AF65-F5344CB8AC3E}">
        <p14:creationId xmlns:p14="http://schemas.microsoft.com/office/powerpoint/2010/main" val="34355503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0"/>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1"/>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39" grpId="0"/>
      <p:bldP spid="40" grpId="0"/>
      <p:bldP spid="41" grpId="0"/>
      <p:bldP spid="57" grpId="0"/>
      <p:bldP spid="58" grpId="0"/>
      <p:bldP spid="10" grpId="0"/>
      <p:bldP spid="11" grpId="0"/>
      <p:bldP spid="28" grpId="0"/>
      <p:bldP spid="3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A7975-9D24-1E32-9A4B-6B1A0597DD63}"/>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0CAE17D-0DC5-9DB8-6BD2-D0C73D102956}"/>
              </a:ext>
            </a:extLst>
          </p:cNvPr>
          <p:cNvGraphicFramePr>
            <a:graphicFrameLocks noChangeAspect="1"/>
          </p:cNvGraphicFramePr>
          <p:nvPr>
            <p:custDataLst>
              <p:tags r:id="rId1"/>
            </p:custDataLst>
            <p:extLst>
              <p:ext uri="{D42A27DB-BD31-4B8C-83A1-F6EECF244321}">
                <p14:modId xmlns:p14="http://schemas.microsoft.com/office/powerpoint/2010/main" val="175313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0" name="think-cell data - do not delete" hidden="1">
                        <a:extLst>
                          <a:ext uri="{FF2B5EF4-FFF2-40B4-BE49-F238E27FC236}">
                            <a16:creationId xmlns:a16="http://schemas.microsoft.com/office/drawing/2014/main" id="{30CAE17D-0DC5-9DB8-6BD2-D0C73D1029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50E6CF2C-AF26-0EE0-8895-FD277A8DBFED}"/>
              </a:ext>
            </a:extLst>
          </p:cNvPr>
          <p:cNvSpPr/>
          <p:nvPr/>
        </p:nvSpPr>
        <p:spPr>
          <a:xfrm>
            <a:off x="2490363" y="5193131"/>
            <a:ext cx="7813746" cy="706795"/>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solidFill>
              </a:rPr>
              <a:t>Base requirements :</a:t>
            </a:r>
          </a:p>
          <a:p>
            <a:pPr marL="342900" indent="-342900">
              <a:buAutoNum type="arabicParenR"/>
            </a:pPr>
            <a:r>
              <a:rPr lang="en-US" sz="1200" dirty="0">
                <a:solidFill>
                  <a:schemeClr val="tx1"/>
                </a:solidFill>
              </a:rPr>
              <a:t>Understand (read and interpret) the product management information contained in the </a:t>
            </a:r>
            <a:r>
              <a:rPr lang="en-US" sz="1200" b="1" dirty="0">
                <a:solidFill>
                  <a:schemeClr val="tx1"/>
                </a:solidFill>
              </a:rPr>
              <a:t>n</a:t>
            </a:r>
            <a:r>
              <a:rPr lang="en-US" sz="1200" dirty="0">
                <a:solidFill>
                  <a:schemeClr val="tx1"/>
                </a:solidFill>
              </a:rPr>
              <a:t> suppliers sets,</a:t>
            </a:r>
          </a:p>
          <a:p>
            <a:pPr marL="342900" indent="-342900">
              <a:buAutoNum type="arabicParenR"/>
            </a:pPr>
            <a:r>
              <a:rPr lang="en-US" sz="1200" dirty="0">
                <a:solidFill>
                  <a:schemeClr val="tx1"/>
                </a:solidFill>
              </a:rPr>
              <a:t>Align all sets including our own, so that the shop can retail them.</a:t>
            </a:r>
          </a:p>
        </p:txBody>
      </p:sp>
      <p:pic>
        <p:nvPicPr>
          <p:cNvPr id="5" name="Image 4">
            <a:extLst>
              <a:ext uri="{FF2B5EF4-FFF2-40B4-BE49-F238E27FC236}">
                <a16:creationId xmlns:a16="http://schemas.microsoft.com/office/drawing/2014/main" id="{C7DEF36C-3EE0-7200-697B-C4C838ACF5FB}"/>
              </a:ext>
            </a:extLst>
          </p:cNvPr>
          <p:cNvPicPr>
            <a:picLocks noChangeAspect="1"/>
          </p:cNvPicPr>
          <p:nvPr/>
        </p:nvPicPr>
        <p:blipFill>
          <a:blip r:embed="rId6"/>
          <a:stretch>
            <a:fillRect/>
          </a:stretch>
        </p:blipFill>
        <p:spPr>
          <a:xfrm>
            <a:off x="4063134" y="2605989"/>
            <a:ext cx="963177" cy="963177"/>
          </a:xfrm>
          <a:prstGeom prst="rect">
            <a:avLst/>
          </a:prstGeom>
        </p:spPr>
      </p:pic>
      <p:pic>
        <p:nvPicPr>
          <p:cNvPr id="7" name="Image 6">
            <a:extLst>
              <a:ext uri="{FF2B5EF4-FFF2-40B4-BE49-F238E27FC236}">
                <a16:creationId xmlns:a16="http://schemas.microsoft.com/office/drawing/2014/main" id="{C16E74FF-55D9-EB78-697B-A676347DBA5E}"/>
              </a:ext>
            </a:extLst>
          </p:cNvPr>
          <p:cNvPicPr>
            <a:picLocks noChangeAspect="1"/>
          </p:cNvPicPr>
          <p:nvPr/>
        </p:nvPicPr>
        <p:blipFill>
          <a:blip r:embed="rId7"/>
          <a:stretch>
            <a:fillRect/>
          </a:stretch>
        </p:blipFill>
        <p:spPr>
          <a:xfrm>
            <a:off x="3943664" y="3899817"/>
            <a:ext cx="1202117" cy="1202117"/>
          </a:xfrm>
          <a:prstGeom prst="rect">
            <a:avLst/>
          </a:prstGeom>
        </p:spPr>
      </p:pic>
      <p:pic>
        <p:nvPicPr>
          <p:cNvPr id="8" name="Image 7">
            <a:extLst>
              <a:ext uri="{FF2B5EF4-FFF2-40B4-BE49-F238E27FC236}">
                <a16:creationId xmlns:a16="http://schemas.microsoft.com/office/drawing/2014/main" id="{F8E08C1A-D1B6-2E84-AF5A-FAE4B555E481}"/>
              </a:ext>
            </a:extLst>
          </p:cNvPr>
          <p:cNvPicPr>
            <a:picLocks noChangeAspect="1"/>
          </p:cNvPicPr>
          <p:nvPr/>
        </p:nvPicPr>
        <p:blipFill>
          <a:blip r:embed="rId7"/>
          <a:stretch>
            <a:fillRect/>
          </a:stretch>
        </p:blipFill>
        <p:spPr>
          <a:xfrm>
            <a:off x="7639575" y="1190495"/>
            <a:ext cx="1202117" cy="1202117"/>
          </a:xfrm>
          <a:prstGeom prst="rect">
            <a:avLst/>
          </a:prstGeom>
        </p:spPr>
      </p:pic>
      <p:pic>
        <p:nvPicPr>
          <p:cNvPr id="14" name="Image 13">
            <a:extLst>
              <a:ext uri="{FF2B5EF4-FFF2-40B4-BE49-F238E27FC236}">
                <a16:creationId xmlns:a16="http://schemas.microsoft.com/office/drawing/2014/main" id="{FBF69034-78E6-F9A0-45FC-CF2DF3772809}"/>
              </a:ext>
            </a:extLst>
          </p:cNvPr>
          <p:cNvPicPr>
            <a:picLocks noChangeAspect="1"/>
          </p:cNvPicPr>
          <p:nvPr/>
        </p:nvPicPr>
        <p:blipFill>
          <a:blip r:embed="rId8"/>
          <a:stretch>
            <a:fillRect/>
          </a:stretch>
        </p:blipFill>
        <p:spPr>
          <a:xfrm>
            <a:off x="4040859" y="1314842"/>
            <a:ext cx="1189529" cy="1189529"/>
          </a:xfrm>
          <a:prstGeom prst="rect">
            <a:avLst/>
          </a:prstGeom>
        </p:spPr>
      </p:pic>
      <p:sp>
        <p:nvSpPr>
          <p:cNvPr id="19" name="Ellipse 18">
            <a:extLst>
              <a:ext uri="{FF2B5EF4-FFF2-40B4-BE49-F238E27FC236}">
                <a16:creationId xmlns:a16="http://schemas.microsoft.com/office/drawing/2014/main" id="{18ABB57B-DB2F-8D96-3C2E-9D8E0E3D8AA5}"/>
              </a:ext>
            </a:extLst>
          </p:cNvPr>
          <p:cNvSpPr/>
          <p:nvPr/>
        </p:nvSpPr>
        <p:spPr>
          <a:xfrm>
            <a:off x="2852925" y="2460559"/>
            <a:ext cx="3544311" cy="2558043"/>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ZoneTexte 39">
            <a:extLst>
              <a:ext uri="{FF2B5EF4-FFF2-40B4-BE49-F238E27FC236}">
                <a16:creationId xmlns:a16="http://schemas.microsoft.com/office/drawing/2014/main" id="{569EAAD1-DA95-DA92-AF3B-01E602E33FF2}"/>
              </a:ext>
            </a:extLst>
          </p:cNvPr>
          <p:cNvSpPr txBox="1"/>
          <p:nvPr/>
        </p:nvSpPr>
        <p:spPr>
          <a:xfrm>
            <a:off x="3362988" y="1832491"/>
            <a:ext cx="764953" cy="276999"/>
          </a:xfrm>
          <a:prstGeom prst="rect">
            <a:avLst/>
          </a:prstGeom>
          <a:noFill/>
        </p:spPr>
        <p:txBody>
          <a:bodyPr wrap="none" rtlCol="0">
            <a:spAutoFit/>
          </a:bodyPr>
          <a:lstStyle/>
          <a:p>
            <a:r>
              <a:rPr lang="en-US" sz="1200" dirty="0" err="1"/>
              <a:t>Coorp</a:t>
            </a:r>
            <a:r>
              <a:rPr lang="en-US" sz="1200" dirty="0"/>
              <a:t> A</a:t>
            </a:r>
            <a:endParaRPr lang="en-US" dirty="0"/>
          </a:p>
        </p:txBody>
      </p:sp>
      <p:cxnSp>
        <p:nvCxnSpPr>
          <p:cNvPr id="47" name="Connecteur droit avec flèche 46">
            <a:extLst>
              <a:ext uri="{FF2B5EF4-FFF2-40B4-BE49-F238E27FC236}">
                <a16:creationId xmlns:a16="http://schemas.microsoft.com/office/drawing/2014/main" id="{BB70439C-A74F-2DEB-E147-96B11C58721E}"/>
              </a:ext>
            </a:extLst>
          </p:cNvPr>
          <p:cNvCxnSpPr>
            <a:cxnSpLocks/>
            <a:stCxn id="5" idx="1"/>
          </p:cNvCxnSpPr>
          <p:nvPr/>
        </p:nvCxnSpPr>
        <p:spPr>
          <a:xfrm flipH="1" flipV="1">
            <a:off x="2408537" y="3081733"/>
            <a:ext cx="1654597" cy="58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 name="Image 2">
            <a:extLst>
              <a:ext uri="{FF2B5EF4-FFF2-40B4-BE49-F238E27FC236}">
                <a16:creationId xmlns:a16="http://schemas.microsoft.com/office/drawing/2014/main" id="{E689277D-E32E-21A9-D258-5B4CA33B0D0A}"/>
              </a:ext>
            </a:extLst>
          </p:cNvPr>
          <p:cNvPicPr>
            <a:picLocks noChangeAspect="1"/>
          </p:cNvPicPr>
          <p:nvPr/>
        </p:nvPicPr>
        <p:blipFill>
          <a:blip r:embed="rId7"/>
          <a:stretch>
            <a:fillRect/>
          </a:stretch>
        </p:blipFill>
        <p:spPr>
          <a:xfrm>
            <a:off x="7791975" y="1342895"/>
            <a:ext cx="1202117" cy="1202117"/>
          </a:xfrm>
          <a:prstGeom prst="rect">
            <a:avLst/>
          </a:prstGeom>
        </p:spPr>
      </p:pic>
      <p:pic>
        <p:nvPicPr>
          <p:cNvPr id="4" name="Image 3">
            <a:extLst>
              <a:ext uri="{FF2B5EF4-FFF2-40B4-BE49-F238E27FC236}">
                <a16:creationId xmlns:a16="http://schemas.microsoft.com/office/drawing/2014/main" id="{8D84D8A9-FA19-BCB6-49D4-D0D7C1C14500}"/>
              </a:ext>
            </a:extLst>
          </p:cNvPr>
          <p:cNvPicPr>
            <a:picLocks noChangeAspect="1"/>
          </p:cNvPicPr>
          <p:nvPr/>
        </p:nvPicPr>
        <p:blipFill>
          <a:blip r:embed="rId7"/>
          <a:stretch>
            <a:fillRect/>
          </a:stretch>
        </p:blipFill>
        <p:spPr>
          <a:xfrm>
            <a:off x="7944375" y="1495295"/>
            <a:ext cx="1202117" cy="1202117"/>
          </a:xfrm>
          <a:prstGeom prst="rect">
            <a:avLst/>
          </a:prstGeom>
        </p:spPr>
      </p:pic>
      <p:pic>
        <p:nvPicPr>
          <p:cNvPr id="9" name="Image 8">
            <a:extLst>
              <a:ext uri="{FF2B5EF4-FFF2-40B4-BE49-F238E27FC236}">
                <a16:creationId xmlns:a16="http://schemas.microsoft.com/office/drawing/2014/main" id="{A36C8B50-29ED-CDA3-E0C1-234C3710C6B8}"/>
              </a:ext>
            </a:extLst>
          </p:cNvPr>
          <p:cNvPicPr>
            <a:picLocks noChangeAspect="1"/>
          </p:cNvPicPr>
          <p:nvPr/>
        </p:nvPicPr>
        <p:blipFill>
          <a:blip r:embed="rId7"/>
          <a:stretch>
            <a:fillRect/>
          </a:stretch>
        </p:blipFill>
        <p:spPr>
          <a:xfrm>
            <a:off x="8096775" y="1647695"/>
            <a:ext cx="1202117" cy="1202117"/>
          </a:xfrm>
          <a:prstGeom prst="rect">
            <a:avLst/>
          </a:prstGeom>
        </p:spPr>
      </p:pic>
      <p:pic>
        <p:nvPicPr>
          <p:cNvPr id="10" name="Image 9">
            <a:extLst>
              <a:ext uri="{FF2B5EF4-FFF2-40B4-BE49-F238E27FC236}">
                <a16:creationId xmlns:a16="http://schemas.microsoft.com/office/drawing/2014/main" id="{8EB4615D-1A00-FFC3-9E57-AA916AE816F4}"/>
              </a:ext>
            </a:extLst>
          </p:cNvPr>
          <p:cNvPicPr>
            <a:picLocks noChangeAspect="1"/>
          </p:cNvPicPr>
          <p:nvPr/>
        </p:nvPicPr>
        <p:blipFill>
          <a:blip r:embed="rId7"/>
          <a:stretch>
            <a:fillRect/>
          </a:stretch>
        </p:blipFill>
        <p:spPr>
          <a:xfrm>
            <a:off x="8249175" y="1800095"/>
            <a:ext cx="1202117" cy="1202117"/>
          </a:xfrm>
          <a:prstGeom prst="rect">
            <a:avLst/>
          </a:prstGeom>
        </p:spPr>
      </p:pic>
      <p:pic>
        <p:nvPicPr>
          <p:cNvPr id="11" name="Image 10">
            <a:extLst>
              <a:ext uri="{FF2B5EF4-FFF2-40B4-BE49-F238E27FC236}">
                <a16:creationId xmlns:a16="http://schemas.microsoft.com/office/drawing/2014/main" id="{726AFFAC-690D-CDBD-7895-C45BCF99EA92}"/>
              </a:ext>
            </a:extLst>
          </p:cNvPr>
          <p:cNvPicPr>
            <a:picLocks noChangeAspect="1"/>
          </p:cNvPicPr>
          <p:nvPr/>
        </p:nvPicPr>
        <p:blipFill>
          <a:blip r:embed="rId7"/>
          <a:stretch>
            <a:fillRect/>
          </a:stretch>
        </p:blipFill>
        <p:spPr>
          <a:xfrm>
            <a:off x="8401575" y="1952495"/>
            <a:ext cx="1202117" cy="1202117"/>
          </a:xfrm>
          <a:prstGeom prst="rect">
            <a:avLst/>
          </a:prstGeom>
        </p:spPr>
      </p:pic>
      <p:pic>
        <p:nvPicPr>
          <p:cNvPr id="12" name="Image 11">
            <a:extLst>
              <a:ext uri="{FF2B5EF4-FFF2-40B4-BE49-F238E27FC236}">
                <a16:creationId xmlns:a16="http://schemas.microsoft.com/office/drawing/2014/main" id="{1574A987-B9F0-E87B-4EAE-6FA265EC6D2D}"/>
              </a:ext>
            </a:extLst>
          </p:cNvPr>
          <p:cNvPicPr>
            <a:picLocks noChangeAspect="1"/>
          </p:cNvPicPr>
          <p:nvPr/>
        </p:nvPicPr>
        <p:blipFill>
          <a:blip r:embed="rId7"/>
          <a:stretch>
            <a:fillRect/>
          </a:stretch>
        </p:blipFill>
        <p:spPr>
          <a:xfrm>
            <a:off x="8553975" y="2104895"/>
            <a:ext cx="1202117" cy="1202117"/>
          </a:xfrm>
          <a:prstGeom prst="rect">
            <a:avLst/>
          </a:prstGeom>
        </p:spPr>
      </p:pic>
      <p:pic>
        <p:nvPicPr>
          <p:cNvPr id="13" name="Image 12">
            <a:extLst>
              <a:ext uri="{FF2B5EF4-FFF2-40B4-BE49-F238E27FC236}">
                <a16:creationId xmlns:a16="http://schemas.microsoft.com/office/drawing/2014/main" id="{13C18588-721D-4FB0-EFA4-DCA686EC2CE2}"/>
              </a:ext>
            </a:extLst>
          </p:cNvPr>
          <p:cNvPicPr>
            <a:picLocks noChangeAspect="1"/>
          </p:cNvPicPr>
          <p:nvPr/>
        </p:nvPicPr>
        <p:blipFill>
          <a:blip r:embed="rId7"/>
          <a:stretch>
            <a:fillRect/>
          </a:stretch>
        </p:blipFill>
        <p:spPr>
          <a:xfrm>
            <a:off x="8706375" y="2257295"/>
            <a:ext cx="1202117" cy="1202117"/>
          </a:xfrm>
          <a:prstGeom prst="rect">
            <a:avLst/>
          </a:prstGeom>
        </p:spPr>
      </p:pic>
      <p:pic>
        <p:nvPicPr>
          <p:cNvPr id="15" name="Image 14">
            <a:extLst>
              <a:ext uri="{FF2B5EF4-FFF2-40B4-BE49-F238E27FC236}">
                <a16:creationId xmlns:a16="http://schemas.microsoft.com/office/drawing/2014/main" id="{563A564E-460A-4651-64F9-74DEA4382E2F}"/>
              </a:ext>
            </a:extLst>
          </p:cNvPr>
          <p:cNvPicPr>
            <a:picLocks noChangeAspect="1"/>
          </p:cNvPicPr>
          <p:nvPr/>
        </p:nvPicPr>
        <p:blipFill>
          <a:blip r:embed="rId7"/>
          <a:stretch>
            <a:fillRect/>
          </a:stretch>
        </p:blipFill>
        <p:spPr>
          <a:xfrm>
            <a:off x="8858775" y="2409695"/>
            <a:ext cx="1202117" cy="1202117"/>
          </a:xfrm>
          <a:prstGeom prst="rect">
            <a:avLst/>
          </a:prstGeom>
        </p:spPr>
      </p:pic>
      <p:pic>
        <p:nvPicPr>
          <p:cNvPr id="16" name="Image 15">
            <a:extLst>
              <a:ext uri="{FF2B5EF4-FFF2-40B4-BE49-F238E27FC236}">
                <a16:creationId xmlns:a16="http://schemas.microsoft.com/office/drawing/2014/main" id="{F1F25B62-E176-FB0D-B2D7-434995B494B5}"/>
              </a:ext>
            </a:extLst>
          </p:cNvPr>
          <p:cNvPicPr>
            <a:picLocks noChangeAspect="1"/>
          </p:cNvPicPr>
          <p:nvPr/>
        </p:nvPicPr>
        <p:blipFill>
          <a:blip r:embed="rId7"/>
          <a:stretch>
            <a:fillRect/>
          </a:stretch>
        </p:blipFill>
        <p:spPr>
          <a:xfrm>
            <a:off x="9011175" y="2562095"/>
            <a:ext cx="1202117" cy="1202117"/>
          </a:xfrm>
          <a:prstGeom prst="rect">
            <a:avLst/>
          </a:prstGeom>
        </p:spPr>
      </p:pic>
      <p:pic>
        <p:nvPicPr>
          <p:cNvPr id="17" name="Image 16">
            <a:extLst>
              <a:ext uri="{FF2B5EF4-FFF2-40B4-BE49-F238E27FC236}">
                <a16:creationId xmlns:a16="http://schemas.microsoft.com/office/drawing/2014/main" id="{60858A68-6637-E410-F281-317D5DA6AD04}"/>
              </a:ext>
            </a:extLst>
          </p:cNvPr>
          <p:cNvPicPr>
            <a:picLocks noChangeAspect="1"/>
          </p:cNvPicPr>
          <p:nvPr/>
        </p:nvPicPr>
        <p:blipFill>
          <a:blip r:embed="rId7"/>
          <a:stretch>
            <a:fillRect/>
          </a:stretch>
        </p:blipFill>
        <p:spPr>
          <a:xfrm>
            <a:off x="9163575" y="2714495"/>
            <a:ext cx="1202117" cy="1202117"/>
          </a:xfrm>
          <a:prstGeom prst="rect">
            <a:avLst/>
          </a:prstGeom>
        </p:spPr>
      </p:pic>
      <p:pic>
        <p:nvPicPr>
          <p:cNvPr id="18" name="Image 17">
            <a:extLst>
              <a:ext uri="{FF2B5EF4-FFF2-40B4-BE49-F238E27FC236}">
                <a16:creationId xmlns:a16="http://schemas.microsoft.com/office/drawing/2014/main" id="{FBAD9FE3-91AE-41B9-C8FA-5C3CB61490F9}"/>
              </a:ext>
            </a:extLst>
          </p:cNvPr>
          <p:cNvPicPr>
            <a:picLocks noChangeAspect="1"/>
          </p:cNvPicPr>
          <p:nvPr/>
        </p:nvPicPr>
        <p:blipFill>
          <a:blip r:embed="rId7"/>
          <a:stretch>
            <a:fillRect/>
          </a:stretch>
        </p:blipFill>
        <p:spPr>
          <a:xfrm>
            <a:off x="9315975" y="2866895"/>
            <a:ext cx="1202117" cy="1202117"/>
          </a:xfrm>
          <a:prstGeom prst="rect">
            <a:avLst/>
          </a:prstGeom>
        </p:spPr>
      </p:pic>
      <p:pic>
        <p:nvPicPr>
          <p:cNvPr id="24" name="Image 23">
            <a:extLst>
              <a:ext uri="{FF2B5EF4-FFF2-40B4-BE49-F238E27FC236}">
                <a16:creationId xmlns:a16="http://schemas.microsoft.com/office/drawing/2014/main" id="{DADE0B1C-B123-4295-B186-BC89B33C478F}"/>
              </a:ext>
            </a:extLst>
          </p:cNvPr>
          <p:cNvPicPr>
            <a:picLocks noChangeAspect="1"/>
          </p:cNvPicPr>
          <p:nvPr/>
        </p:nvPicPr>
        <p:blipFill>
          <a:blip r:embed="rId7"/>
          <a:stretch>
            <a:fillRect/>
          </a:stretch>
        </p:blipFill>
        <p:spPr>
          <a:xfrm>
            <a:off x="9468375" y="3019295"/>
            <a:ext cx="1202117" cy="1202117"/>
          </a:xfrm>
          <a:prstGeom prst="rect">
            <a:avLst/>
          </a:prstGeom>
        </p:spPr>
      </p:pic>
      <p:pic>
        <p:nvPicPr>
          <p:cNvPr id="25" name="Image 24">
            <a:extLst>
              <a:ext uri="{FF2B5EF4-FFF2-40B4-BE49-F238E27FC236}">
                <a16:creationId xmlns:a16="http://schemas.microsoft.com/office/drawing/2014/main" id="{CAE1449E-9EF7-61E5-3086-51A42E3F521B}"/>
              </a:ext>
            </a:extLst>
          </p:cNvPr>
          <p:cNvPicPr>
            <a:picLocks noChangeAspect="1"/>
          </p:cNvPicPr>
          <p:nvPr/>
        </p:nvPicPr>
        <p:blipFill>
          <a:blip r:embed="rId7"/>
          <a:stretch>
            <a:fillRect/>
          </a:stretch>
        </p:blipFill>
        <p:spPr>
          <a:xfrm>
            <a:off x="9620775" y="3171695"/>
            <a:ext cx="1202117" cy="1202117"/>
          </a:xfrm>
          <a:prstGeom prst="rect">
            <a:avLst/>
          </a:prstGeom>
        </p:spPr>
      </p:pic>
      <p:pic>
        <p:nvPicPr>
          <p:cNvPr id="26" name="Image 25">
            <a:extLst>
              <a:ext uri="{FF2B5EF4-FFF2-40B4-BE49-F238E27FC236}">
                <a16:creationId xmlns:a16="http://schemas.microsoft.com/office/drawing/2014/main" id="{D8677B21-3263-0A67-0695-2BDFBC9059E2}"/>
              </a:ext>
            </a:extLst>
          </p:cNvPr>
          <p:cNvPicPr>
            <a:picLocks noChangeAspect="1"/>
          </p:cNvPicPr>
          <p:nvPr/>
        </p:nvPicPr>
        <p:blipFill>
          <a:blip r:embed="rId7"/>
          <a:stretch>
            <a:fillRect/>
          </a:stretch>
        </p:blipFill>
        <p:spPr>
          <a:xfrm>
            <a:off x="9773175" y="3324095"/>
            <a:ext cx="1202117" cy="1202117"/>
          </a:xfrm>
          <a:prstGeom prst="rect">
            <a:avLst/>
          </a:prstGeom>
        </p:spPr>
      </p:pic>
      <p:pic>
        <p:nvPicPr>
          <p:cNvPr id="27" name="Image 26">
            <a:extLst>
              <a:ext uri="{FF2B5EF4-FFF2-40B4-BE49-F238E27FC236}">
                <a16:creationId xmlns:a16="http://schemas.microsoft.com/office/drawing/2014/main" id="{5C2A1AD6-3060-6736-EFC6-6DD870C0D67C}"/>
              </a:ext>
            </a:extLst>
          </p:cNvPr>
          <p:cNvPicPr>
            <a:picLocks noChangeAspect="1"/>
          </p:cNvPicPr>
          <p:nvPr/>
        </p:nvPicPr>
        <p:blipFill>
          <a:blip r:embed="rId7"/>
          <a:stretch>
            <a:fillRect/>
          </a:stretch>
        </p:blipFill>
        <p:spPr>
          <a:xfrm>
            <a:off x="9925575" y="3476495"/>
            <a:ext cx="1202117" cy="1202117"/>
          </a:xfrm>
          <a:prstGeom prst="rect">
            <a:avLst/>
          </a:prstGeom>
        </p:spPr>
      </p:pic>
      <p:pic>
        <p:nvPicPr>
          <p:cNvPr id="28" name="Image 27">
            <a:extLst>
              <a:ext uri="{FF2B5EF4-FFF2-40B4-BE49-F238E27FC236}">
                <a16:creationId xmlns:a16="http://schemas.microsoft.com/office/drawing/2014/main" id="{26A6FC30-2F1C-1BAA-919C-B59FA35E8B8B}"/>
              </a:ext>
            </a:extLst>
          </p:cNvPr>
          <p:cNvPicPr>
            <a:picLocks noChangeAspect="1"/>
          </p:cNvPicPr>
          <p:nvPr/>
        </p:nvPicPr>
        <p:blipFill>
          <a:blip r:embed="rId7"/>
          <a:stretch>
            <a:fillRect/>
          </a:stretch>
        </p:blipFill>
        <p:spPr>
          <a:xfrm>
            <a:off x="10077975" y="3628895"/>
            <a:ext cx="1202117" cy="1202117"/>
          </a:xfrm>
          <a:prstGeom prst="rect">
            <a:avLst/>
          </a:prstGeom>
        </p:spPr>
      </p:pic>
      <p:grpSp>
        <p:nvGrpSpPr>
          <p:cNvPr id="82" name="Groupe 81">
            <a:extLst>
              <a:ext uri="{FF2B5EF4-FFF2-40B4-BE49-F238E27FC236}">
                <a16:creationId xmlns:a16="http://schemas.microsoft.com/office/drawing/2014/main" id="{C959B105-A164-AD70-316D-4421EF648DA2}"/>
              </a:ext>
            </a:extLst>
          </p:cNvPr>
          <p:cNvGrpSpPr/>
          <p:nvPr/>
        </p:nvGrpSpPr>
        <p:grpSpPr>
          <a:xfrm>
            <a:off x="5026311" y="1943954"/>
            <a:ext cx="5204064" cy="2438400"/>
            <a:chOff x="5026311" y="1943954"/>
            <a:chExt cx="5204064" cy="2438400"/>
          </a:xfrm>
        </p:grpSpPr>
        <p:cxnSp>
          <p:nvCxnSpPr>
            <p:cNvPr id="35" name="Connecteur droit avec flèche 34">
              <a:extLst>
                <a:ext uri="{FF2B5EF4-FFF2-40B4-BE49-F238E27FC236}">
                  <a16:creationId xmlns:a16="http://schemas.microsoft.com/office/drawing/2014/main" id="{0BF3920E-DCC7-DD5D-3B44-7BE3220489D4}"/>
                </a:ext>
              </a:extLst>
            </p:cNvPr>
            <p:cNvCxnSpPr>
              <a:stCxn id="3" idx="1"/>
              <a:endCxn id="5" idx="3"/>
            </p:cNvCxnSpPr>
            <p:nvPr/>
          </p:nvCxnSpPr>
          <p:spPr>
            <a:xfrm flipH="1">
              <a:off x="5026311" y="1943954"/>
              <a:ext cx="2765664" cy="11436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729372F1-0018-5C80-09DD-72EFB6B58DA1}"/>
                </a:ext>
              </a:extLst>
            </p:cNvPr>
            <p:cNvCxnSpPr>
              <a:cxnSpLocks/>
              <a:endCxn id="5" idx="3"/>
            </p:cNvCxnSpPr>
            <p:nvPr/>
          </p:nvCxnSpPr>
          <p:spPr>
            <a:xfrm flipH="1">
              <a:off x="5026311" y="2274443"/>
              <a:ext cx="3062160" cy="8131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avec flèche 44">
              <a:extLst>
                <a:ext uri="{FF2B5EF4-FFF2-40B4-BE49-F238E27FC236}">
                  <a16:creationId xmlns:a16="http://schemas.microsoft.com/office/drawing/2014/main" id="{9DAA3711-7F2A-B946-EB6B-34308E9D9C31}"/>
                </a:ext>
              </a:extLst>
            </p:cNvPr>
            <p:cNvCxnSpPr>
              <a:stCxn id="4" idx="1"/>
              <a:endCxn id="5" idx="3"/>
            </p:cNvCxnSpPr>
            <p:nvPr/>
          </p:nvCxnSpPr>
          <p:spPr>
            <a:xfrm flipH="1">
              <a:off x="5026311" y="2096354"/>
              <a:ext cx="2918064" cy="9912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Connecteur droit avec flèche 47">
              <a:extLst>
                <a:ext uri="{FF2B5EF4-FFF2-40B4-BE49-F238E27FC236}">
                  <a16:creationId xmlns:a16="http://schemas.microsoft.com/office/drawing/2014/main" id="{78D1DC4D-1FB2-09FB-2659-FFF47F64208E}"/>
                </a:ext>
              </a:extLst>
            </p:cNvPr>
            <p:cNvCxnSpPr>
              <a:stCxn id="28" idx="1"/>
              <a:endCxn id="5" idx="3"/>
            </p:cNvCxnSpPr>
            <p:nvPr/>
          </p:nvCxnSpPr>
          <p:spPr>
            <a:xfrm flipH="1" flipV="1">
              <a:off x="5026311" y="3087578"/>
              <a:ext cx="5051664" cy="11423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Connecteur droit avec flèche 48">
              <a:extLst>
                <a:ext uri="{FF2B5EF4-FFF2-40B4-BE49-F238E27FC236}">
                  <a16:creationId xmlns:a16="http://schemas.microsoft.com/office/drawing/2014/main" id="{CA34AE1B-6369-3604-EB0E-4BC2E64D3B08}"/>
                </a:ext>
              </a:extLst>
            </p:cNvPr>
            <p:cNvCxnSpPr>
              <a:cxnSpLocks/>
              <a:endCxn id="5" idx="3"/>
            </p:cNvCxnSpPr>
            <p:nvPr/>
          </p:nvCxnSpPr>
          <p:spPr>
            <a:xfrm flipH="1" flipV="1">
              <a:off x="5026311" y="3087578"/>
              <a:ext cx="5204064" cy="12947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Connecteur droit avec flèche 50">
              <a:extLst>
                <a:ext uri="{FF2B5EF4-FFF2-40B4-BE49-F238E27FC236}">
                  <a16:creationId xmlns:a16="http://schemas.microsoft.com/office/drawing/2014/main" id="{CD270BBC-7C7C-C4F2-3C01-46A02E132660}"/>
                </a:ext>
              </a:extLst>
            </p:cNvPr>
            <p:cNvCxnSpPr>
              <a:cxnSpLocks/>
              <a:stCxn id="25" idx="1"/>
              <a:endCxn id="5" idx="3"/>
            </p:cNvCxnSpPr>
            <p:nvPr/>
          </p:nvCxnSpPr>
          <p:spPr>
            <a:xfrm flipH="1" flipV="1">
              <a:off x="5026311" y="3087578"/>
              <a:ext cx="4594464" cy="6851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a:extLst>
                <a:ext uri="{FF2B5EF4-FFF2-40B4-BE49-F238E27FC236}">
                  <a16:creationId xmlns:a16="http://schemas.microsoft.com/office/drawing/2014/main" id="{F08F0EBA-1EC9-117E-3660-CBA4D0BE9D47}"/>
                </a:ext>
              </a:extLst>
            </p:cNvPr>
            <p:cNvCxnSpPr>
              <a:cxnSpLocks/>
              <a:stCxn id="27" idx="1"/>
              <a:endCxn id="5" idx="3"/>
            </p:cNvCxnSpPr>
            <p:nvPr/>
          </p:nvCxnSpPr>
          <p:spPr>
            <a:xfrm flipH="1" flipV="1">
              <a:off x="5026311" y="3087578"/>
              <a:ext cx="4899264" cy="9899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Connecteur droit avec flèche 65">
              <a:extLst>
                <a:ext uri="{FF2B5EF4-FFF2-40B4-BE49-F238E27FC236}">
                  <a16:creationId xmlns:a16="http://schemas.microsoft.com/office/drawing/2014/main" id="{6AD708B0-90D2-7375-D178-503A95021E59}"/>
                </a:ext>
              </a:extLst>
            </p:cNvPr>
            <p:cNvCxnSpPr>
              <a:cxnSpLocks/>
              <a:endCxn id="5" idx="3"/>
            </p:cNvCxnSpPr>
            <p:nvPr/>
          </p:nvCxnSpPr>
          <p:spPr>
            <a:xfrm flipH="1" flipV="1">
              <a:off x="5026311" y="3087578"/>
              <a:ext cx="4746864" cy="8375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69" name="Connecteur droit avec flèche 68">
            <a:extLst>
              <a:ext uri="{FF2B5EF4-FFF2-40B4-BE49-F238E27FC236}">
                <a16:creationId xmlns:a16="http://schemas.microsoft.com/office/drawing/2014/main" id="{7174845A-D7DA-C8B7-DC8A-95D04EE66E7D}"/>
              </a:ext>
            </a:extLst>
          </p:cNvPr>
          <p:cNvCxnSpPr>
            <a:cxnSpLocks/>
            <a:stCxn id="7" idx="0"/>
            <a:endCxn id="5" idx="2"/>
          </p:cNvCxnSpPr>
          <p:nvPr/>
        </p:nvCxnSpPr>
        <p:spPr>
          <a:xfrm flipV="1">
            <a:off x="4544723" y="3569166"/>
            <a:ext cx="0" cy="3306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ZoneTexte 74">
            <a:extLst>
              <a:ext uri="{FF2B5EF4-FFF2-40B4-BE49-F238E27FC236}">
                <a16:creationId xmlns:a16="http://schemas.microsoft.com/office/drawing/2014/main" id="{C6211125-EA93-F124-3BEB-6688EB8C8BF5}"/>
              </a:ext>
            </a:extLst>
          </p:cNvPr>
          <p:cNvSpPr txBox="1"/>
          <p:nvPr/>
        </p:nvSpPr>
        <p:spPr>
          <a:xfrm>
            <a:off x="5889672" y="2795643"/>
            <a:ext cx="2775119" cy="461665"/>
          </a:xfrm>
          <a:prstGeom prst="rect">
            <a:avLst/>
          </a:prstGeom>
          <a:noFill/>
        </p:spPr>
        <p:txBody>
          <a:bodyPr wrap="none" rtlCol="0">
            <a:spAutoFit/>
          </a:bodyPr>
          <a:lstStyle/>
          <a:p>
            <a:r>
              <a:rPr lang="en-US" sz="1200" dirty="0"/>
              <a:t>Assuming we have </a:t>
            </a:r>
            <a:r>
              <a:rPr lang="en-US" sz="1200" b="1" dirty="0"/>
              <a:t>n</a:t>
            </a:r>
            <a:r>
              <a:rPr lang="en-US" sz="1200" dirty="0"/>
              <a:t> partners whose </a:t>
            </a:r>
            <a:br>
              <a:rPr lang="en-US" sz="1200" dirty="0"/>
            </a:br>
            <a:r>
              <a:rPr lang="en-US" sz="1200" dirty="0"/>
              <a:t>products we can retail</a:t>
            </a:r>
          </a:p>
        </p:txBody>
      </p:sp>
      <p:sp>
        <p:nvSpPr>
          <p:cNvPr id="22" name="Title 1">
            <a:extLst>
              <a:ext uri="{FF2B5EF4-FFF2-40B4-BE49-F238E27FC236}">
                <a16:creationId xmlns:a16="http://schemas.microsoft.com/office/drawing/2014/main" id="{64D6CB2E-DA2F-1082-36F4-BF71D6EC5755}"/>
              </a:ext>
            </a:extLst>
          </p:cNvPr>
          <p:cNvSpPr txBox="1">
            <a:spLocks noGrp="1"/>
          </p:cNvSpPr>
          <p:nvPr>
            <p:ph type="title"/>
          </p:nvPr>
        </p:nvSpPr>
        <p:spPr>
          <a:xfrm>
            <a:off x="475407" y="318498"/>
            <a:ext cx="10445456" cy="6096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accent1"/>
                </a:solidFill>
                <a:latin typeface="+mn-lt"/>
                <a:ea typeface="+mj-ea"/>
                <a:cs typeface="+mj-cs"/>
              </a:defRPr>
            </a:lvl1pPr>
          </a:lstStyle>
          <a:p>
            <a:r>
              <a:rPr lang="en-IN" dirty="0"/>
              <a:t>Base requirements | Retailer - Supplier</a:t>
            </a:r>
          </a:p>
        </p:txBody>
      </p:sp>
      <p:sp>
        <p:nvSpPr>
          <p:cNvPr id="2" name="Date Placeholder 1">
            <a:extLst>
              <a:ext uri="{FF2B5EF4-FFF2-40B4-BE49-F238E27FC236}">
                <a16:creationId xmlns:a16="http://schemas.microsoft.com/office/drawing/2014/main" id="{188174C2-24B6-024B-821C-ECC1B52A1D43}"/>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7800A7DB-F5BA-02EE-F7D7-D970A2CA51A7}"/>
              </a:ext>
            </a:extLst>
          </p:cNvPr>
          <p:cNvSpPr>
            <a:spLocks noGrp="1"/>
          </p:cNvSpPr>
          <p:nvPr>
            <p:ph type="ftr" sz="quarter" idx="11"/>
          </p:nvPr>
        </p:nvSpPr>
        <p:spPr/>
        <p:txBody>
          <a:bodyPr/>
          <a:lstStyle/>
          <a:p>
            <a:r>
              <a:rPr lang="en-US" dirty="0"/>
              <a:t>APMWG</a:t>
            </a:r>
          </a:p>
        </p:txBody>
      </p:sp>
      <p:sp>
        <p:nvSpPr>
          <p:cNvPr id="23" name="Slide Number Placeholder 22">
            <a:extLst>
              <a:ext uri="{FF2B5EF4-FFF2-40B4-BE49-F238E27FC236}">
                <a16:creationId xmlns:a16="http://schemas.microsoft.com/office/drawing/2014/main" id="{137F6E1F-8C7C-DDD8-3B94-BB5857017A39}"/>
              </a:ext>
            </a:extLst>
          </p:cNvPr>
          <p:cNvSpPr>
            <a:spLocks noGrp="1"/>
          </p:cNvSpPr>
          <p:nvPr>
            <p:ph type="sldNum" sz="quarter" idx="12"/>
          </p:nvPr>
        </p:nvSpPr>
        <p:spPr/>
        <p:txBody>
          <a:bodyPr/>
          <a:lstStyle/>
          <a:p>
            <a:fld id="{1A9E565A-6679-4A67-8FB7-14EA342FD6E1}" type="slidenum">
              <a:rPr lang="en-US" smtClean="0"/>
              <a:pPr/>
              <a:t>13</a:t>
            </a:fld>
            <a:endParaRPr lang="en-US"/>
          </a:p>
        </p:txBody>
      </p:sp>
      <p:sp>
        <p:nvSpPr>
          <p:cNvPr id="29" name="Oval 28">
            <a:extLst>
              <a:ext uri="{FF2B5EF4-FFF2-40B4-BE49-F238E27FC236}">
                <a16:creationId xmlns:a16="http://schemas.microsoft.com/office/drawing/2014/main" id="{74D70BF2-A4AE-F75C-77BD-21DEDDD4929F}"/>
              </a:ext>
            </a:extLst>
          </p:cNvPr>
          <p:cNvSpPr/>
          <p:nvPr/>
        </p:nvSpPr>
        <p:spPr>
          <a:xfrm>
            <a:off x="1200125" y="2570945"/>
            <a:ext cx="1050170" cy="105017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ZoneTexte 56">
            <a:extLst>
              <a:ext uri="{FF2B5EF4-FFF2-40B4-BE49-F238E27FC236}">
                <a16:creationId xmlns:a16="http://schemas.microsoft.com/office/drawing/2014/main" id="{4DA44547-1E9F-4FB2-662B-96DE3617B7B8}"/>
              </a:ext>
            </a:extLst>
          </p:cNvPr>
          <p:cNvSpPr txBox="1"/>
          <p:nvPr/>
        </p:nvSpPr>
        <p:spPr>
          <a:xfrm>
            <a:off x="1263207" y="3592473"/>
            <a:ext cx="924005" cy="276999"/>
          </a:xfrm>
          <a:prstGeom prst="rect">
            <a:avLst/>
          </a:prstGeom>
          <a:noFill/>
        </p:spPr>
        <p:txBody>
          <a:bodyPr wrap="square" rtlCol="0">
            <a:spAutoFit/>
          </a:bodyPr>
          <a:lstStyle/>
          <a:p>
            <a:pPr algn="ctr" defTabSz="914377"/>
            <a:r>
              <a:rPr lang="en-US" sz="1200" dirty="0">
                <a:solidFill>
                  <a:prstClr val="black"/>
                </a:solidFill>
              </a:rPr>
              <a:t>Traveler</a:t>
            </a:r>
            <a:endParaRPr lang="en-US" dirty="0">
              <a:solidFill>
                <a:prstClr val="black"/>
              </a:solidFill>
            </a:endParaRPr>
          </a:p>
        </p:txBody>
      </p:sp>
      <p:pic>
        <p:nvPicPr>
          <p:cNvPr id="31" name="Picture 30" descr="A blue icon of a person with a luggage bag&#10;&#10;AI-generated content may be incorrect.">
            <a:extLst>
              <a:ext uri="{FF2B5EF4-FFF2-40B4-BE49-F238E27FC236}">
                <a16:creationId xmlns:a16="http://schemas.microsoft.com/office/drawing/2014/main" id="{B1F275F7-345A-E324-CCD8-42E84833609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24849" y="2530222"/>
            <a:ext cx="1061754" cy="1061754"/>
          </a:xfrm>
          <a:prstGeom prst="rect">
            <a:avLst/>
          </a:prstGeom>
        </p:spPr>
      </p:pic>
    </p:spTree>
    <p:extLst>
      <p:ext uri="{BB962C8B-B14F-4D97-AF65-F5344CB8AC3E}">
        <p14:creationId xmlns:p14="http://schemas.microsoft.com/office/powerpoint/2010/main" val="246042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8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6"/>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9" grpId="0" animBg="1"/>
      <p:bldP spid="40" grpId="0"/>
      <p:bldP spid="75" grpId="0"/>
      <p:bldP spid="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0724DA-C3CB-2A15-82CE-6A2F2E5C34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AFEE76-5AC3-180D-DE40-9C15F71BEE65}"/>
              </a:ext>
            </a:extLst>
          </p:cNvPr>
          <p:cNvGraphicFramePr>
            <a:graphicFrameLocks noChangeAspect="1"/>
          </p:cNvGraphicFramePr>
          <p:nvPr>
            <p:custDataLst>
              <p:tags r:id="rId1"/>
            </p:custDataLst>
            <p:extLst>
              <p:ext uri="{D42A27DB-BD31-4B8C-83A1-F6EECF244321}">
                <p14:modId xmlns:p14="http://schemas.microsoft.com/office/powerpoint/2010/main" val="658451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think-cell data - do not delete" hidden="1">
                        <a:extLst>
                          <a:ext uri="{FF2B5EF4-FFF2-40B4-BE49-F238E27FC236}">
                            <a16:creationId xmlns:a16="http://schemas.microsoft.com/office/drawing/2014/main" id="{73AFEE76-5AC3-180D-DE40-9C15F71BEE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50D6148A-16AA-F707-DF8F-05C20F2F1725}"/>
              </a:ext>
            </a:extLst>
          </p:cNvPr>
          <p:cNvPicPr>
            <a:picLocks noChangeAspect="1"/>
          </p:cNvPicPr>
          <p:nvPr/>
        </p:nvPicPr>
        <p:blipFill>
          <a:blip r:embed="rId6"/>
          <a:stretch>
            <a:fillRect/>
          </a:stretch>
        </p:blipFill>
        <p:spPr>
          <a:xfrm>
            <a:off x="3964009" y="3723188"/>
            <a:ext cx="963177" cy="963177"/>
          </a:xfrm>
          <a:prstGeom prst="rect">
            <a:avLst/>
          </a:prstGeom>
        </p:spPr>
      </p:pic>
      <p:pic>
        <p:nvPicPr>
          <p:cNvPr id="7" name="Image 6">
            <a:extLst>
              <a:ext uri="{FF2B5EF4-FFF2-40B4-BE49-F238E27FC236}">
                <a16:creationId xmlns:a16="http://schemas.microsoft.com/office/drawing/2014/main" id="{89CC5C63-BFE9-B06D-1056-DC474FA53864}"/>
              </a:ext>
            </a:extLst>
          </p:cNvPr>
          <p:cNvPicPr>
            <a:picLocks noChangeAspect="1"/>
          </p:cNvPicPr>
          <p:nvPr/>
        </p:nvPicPr>
        <p:blipFill>
          <a:blip r:embed="rId7"/>
          <a:stretch>
            <a:fillRect/>
          </a:stretch>
        </p:blipFill>
        <p:spPr>
          <a:xfrm>
            <a:off x="3844539" y="2263413"/>
            <a:ext cx="1202117" cy="1202117"/>
          </a:xfrm>
          <a:prstGeom prst="rect">
            <a:avLst/>
          </a:prstGeom>
        </p:spPr>
      </p:pic>
      <p:pic>
        <p:nvPicPr>
          <p:cNvPr id="14" name="Image 13">
            <a:extLst>
              <a:ext uri="{FF2B5EF4-FFF2-40B4-BE49-F238E27FC236}">
                <a16:creationId xmlns:a16="http://schemas.microsoft.com/office/drawing/2014/main" id="{00591FE9-759A-2B93-474F-A0F19FF08EED}"/>
              </a:ext>
            </a:extLst>
          </p:cNvPr>
          <p:cNvPicPr>
            <a:picLocks noChangeAspect="1"/>
          </p:cNvPicPr>
          <p:nvPr/>
        </p:nvPicPr>
        <p:blipFill>
          <a:blip r:embed="rId8"/>
          <a:stretch>
            <a:fillRect/>
          </a:stretch>
        </p:blipFill>
        <p:spPr>
          <a:xfrm>
            <a:off x="3927142" y="981275"/>
            <a:ext cx="1189529" cy="1189529"/>
          </a:xfrm>
          <a:prstGeom prst="rect">
            <a:avLst/>
          </a:prstGeom>
        </p:spPr>
      </p:pic>
      <p:sp>
        <p:nvSpPr>
          <p:cNvPr id="19" name="Ellipse 18">
            <a:extLst>
              <a:ext uri="{FF2B5EF4-FFF2-40B4-BE49-F238E27FC236}">
                <a16:creationId xmlns:a16="http://schemas.microsoft.com/office/drawing/2014/main" id="{627F9992-34DD-E775-6D03-371567FFA9CE}"/>
              </a:ext>
            </a:extLst>
          </p:cNvPr>
          <p:cNvSpPr/>
          <p:nvPr/>
        </p:nvSpPr>
        <p:spPr>
          <a:xfrm>
            <a:off x="2721430" y="2321182"/>
            <a:ext cx="3544311" cy="2468070"/>
          </a:xfrm>
          <a:prstGeom prst="ellipse">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ZoneTexte 39">
            <a:extLst>
              <a:ext uri="{FF2B5EF4-FFF2-40B4-BE49-F238E27FC236}">
                <a16:creationId xmlns:a16="http://schemas.microsoft.com/office/drawing/2014/main" id="{0604D018-21D9-8259-BF8B-D8ABBD89DBB8}"/>
              </a:ext>
            </a:extLst>
          </p:cNvPr>
          <p:cNvSpPr txBox="1"/>
          <p:nvPr/>
        </p:nvSpPr>
        <p:spPr>
          <a:xfrm>
            <a:off x="3199056" y="1556506"/>
            <a:ext cx="764953" cy="276999"/>
          </a:xfrm>
          <a:prstGeom prst="rect">
            <a:avLst/>
          </a:prstGeom>
          <a:noFill/>
        </p:spPr>
        <p:txBody>
          <a:bodyPr wrap="none" rtlCol="0">
            <a:spAutoFit/>
          </a:bodyPr>
          <a:lstStyle/>
          <a:p>
            <a:r>
              <a:rPr lang="en-US" sz="1200" dirty="0" err="1"/>
              <a:t>Coorp</a:t>
            </a:r>
            <a:r>
              <a:rPr lang="en-US" sz="1200" dirty="0"/>
              <a:t> A</a:t>
            </a:r>
            <a:endParaRPr lang="en-US" dirty="0"/>
          </a:p>
        </p:txBody>
      </p:sp>
      <p:cxnSp>
        <p:nvCxnSpPr>
          <p:cNvPr id="47" name="Connecteur droit avec flèche 46">
            <a:extLst>
              <a:ext uri="{FF2B5EF4-FFF2-40B4-BE49-F238E27FC236}">
                <a16:creationId xmlns:a16="http://schemas.microsoft.com/office/drawing/2014/main" id="{087B7E29-7064-6E14-10E2-A3CB0F254971}"/>
              </a:ext>
            </a:extLst>
          </p:cNvPr>
          <p:cNvCxnSpPr>
            <a:cxnSpLocks/>
            <a:stCxn id="5" idx="1"/>
            <a:endCxn id="11" idx="3"/>
          </p:cNvCxnSpPr>
          <p:nvPr/>
        </p:nvCxnSpPr>
        <p:spPr>
          <a:xfrm flipH="1">
            <a:off x="2360613" y="4204777"/>
            <a:ext cx="1603396" cy="80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Connecteur droit avec flèche 34">
            <a:extLst>
              <a:ext uri="{FF2B5EF4-FFF2-40B4-BE49-F238E27FC236}">
                <a16:creationId xmlns:a16="http://schemas.microsoft.com/office/drawing/2014/main" id="{ABB83B74-06B9-E2D6-ABFA-B1B4D3EF672B}"/>
              </a:ext>
            </a:extLst>
          </p:cNvPr>
          <p:cNvCxnSpPr>
            <a:cxnSpLocks/>
            <a:stCxn id="32" idx="1"/>
            <a:endCxn id="7" idx="3"/>
          </p:cNvCxnSpPr>
          <p:nvPr/>
        </p:nvCxnSpPr>
        <p:spPr>
          <a:xfrm flipH="1">
            <a:off x="5046656" y="1399674"/>
            <a:ext cx="3083400" cy="1464798"/>
          </a:xfrm>
          <a:prstGeom prst="straightConnector1">
            <a:avLst/>
          </a:prstGeom>
          <a:ln>
            <a:headEnd type="arrow"/>
            <a:tailEnd type="none"/>
          </a:ln>
        </p:spPr>
        <p:style>
          <a:lnRef idx="1">
            <a:schemeClr val="accent1"/>
          </a:lnRef>
          <a:fillRef idx="0">
            <a:schemeClr val="accent1"/>
          </a:fillRef>
          <a:effectRef idx="0">
            <a:schemeClr val="accent1"/>
          </a:effectRef>
          <a:fontRef idx="minor">
            <a:schemeClr val="tx1"/>
          </a:fontRef>
        </p:style>
      </p:cxnSp>
      <p:cxnSp>
        <p:nvCxnSpPr>
          <p:cNvPr id="36" name="Connecteur droit avec flèche 35">
            <a:extLst>
              <a:ext uri="{FF2B5EF4-FFF2-40B4-BE49-F238E27FC236}">
                <a16:creationId xmlns:a16="http://schemas.microsoft.com/office/drawing/2014/main" id="{F9A8CA3E-6E8A-2694-B16F-B3C2FDB9D715}"/>
              </a:ext>
            </a:extLst>
          </p:cNvPr>
          <p:cNvCxnSpPr>
            <a:cxnSpLocks/>
            <a:stCxn id="52" idx="1"/>
            <a:endCxn id="7" idx="3"/>
          </p:cNvCxnSpPr>
          <p:nvPr/>
        </p:nvCxnSpPr>
        <p:spPr>
          <a:xfrm flipH="1">
            <a:off x="5046656" y="1552074"/>
            <a:ext cx="3235800" cy="1312398"/>
          </a:xfrm>
          <a:prstGeom prst="straightConnector1">
            <a:avLst/>
          </a:prstGeom>
          <a:ln>
            <a:headEnd type="arrow"/>
            <a:tailEnd type="none"/>
          </a:ln>
        </p:spPr>
        <p:style>
          <a:lnRef idx="1">
            <a:schemeClr val="accent1"/>
          </a:lnRef>
          <a:fillRef idx="0">
            <a:schemeClr val="accent1"/>
          </a:fillRef>
          <a:effectRef idx="0">
            <a:schemeClr val="accent1"/>
          </a:effectRef>
          <a:fontRef idx="minor">
            <a:schemeClr val="tx1"/>
          </a:fontRef>
        </p:style>
      </p:cxnSp>
      <p:cxnSp>
        <p:nvCxnSpPr>
          <p:cNvPr id="48" name="Connecteur droit avec flèche 47">
            <a:extLst>
              <a:ext uri="{FF2B5EF4-FFF2-40B4-BE49-F238E27FC236}">
                <a16:creationId xmlns:a16="http://schemas.microsoft.com/office/drawing/2014/main" id="{0E1D6B18-D649-85B2-F25C-988108B44537}"/>
              </a:ext>
            </a:extLst>
          </p:cNvPr>
          <p:cNvCxnSpPr>
            <a:cxnSpLocks/>
            <a:stCxn id="65" idx="1"/>
            <a:endCxn id="7" idx="3"/>
          </p:cNvCxnSpPr>
          <p:nvPr/>
        </p:nvCxnSpPr>
        <p:spPr>
          <a:xfrm flipH="1" flipV="1">
            <a:off x="5046656" y="2864472"/>
            <a:ext cx="4912200" cy="364002"/>
          </a:xfrm>
          <a:prstGeom prst="straightConnector1">
            <a:avLst/>
          </a:prstGeom>
          <a:ln>
            <a:headEnd type="arrow"/>
            <a:tailEnd type="none"/>
          </a:ln>
        </p:spPr>
        <p:style>
          <a:lnRef idx="1">
            <a:schemeClr val="accent1"/>
          </a:lnRef>
          <a:fillRef idx="0">
            <a:schemeClr val="accent1"/>
          </a:fillRef>
          <a:effectRef idx="0">
            <a:schemeClr val="accent1"/>
          </a:effectRef>
          <a:fontRef idx="minor">
            <a:schemeClr val="tx1"/>
          </a:fontRef>
        </p:style>
      </p:cxnSp>
      <p:cxnSp>
        <p:nvCxnSpPr>
          <p:cNvPr id="49" name="Connecteur droit avec flèche 48">
            <a:extLst>
              <a:ext uri="{FF2B5EF4-FFF2-40B4-BE49-F238E27FC236}">
                <a16:creationId xmlns:a16="http://schemas.microsoft.com/office/drawing/2014/main" id="{DA40C6A0-372F-06A1-EFB0-F7BC97C9A8CD}"/>
              </a:ext>
            </a:extLst>
          </p:cNvPr>
          <p:cNvCxnSpPr>
            <a:cxnSpLocks/>
            <a:stCxn id="68" idx="1"/>
            <a:endCxn id="7" idx="3"/>
          </p:cNvCxnSpPr>
          <p:nvPr/>
        </p:nvCxnSpPr>
        <p:spPr>
          <a:xfrm flipH="1" flipV="1">
            <a:off x="5046656" y="2864472"/>
            <a:ext cx="5217000" cy="668802"/>
          </a:xfrm>
          <a:prstGeom prst="straightConnector1">
            <a:avLst/>
          </a:prstGeom>
          <a:ln>
            <a:headEnd type="arrow"/>
            <a:tailEnd type="none"/>
          </a:ln>
        </p:spPr>
        <p:style>
          <a:lnRef idx="1">
            <a:schemeClr val="accent1"/>
          </a:lnRef>
          <a:fillRef idx="0">
            <a:schemeClr val="accent1"/>
          </a:fillRef>
          <a:effectRef idx="0">
            <a:schemeClr val="accent1"/>
          </a:effectRef>
          <a:fontRef idx="minor">
            <a:schemeClr val="tx1"/>
          </a:fontRef>
        </p:style>
      </p:cxnSp>
      <p:cxnSp>
        <p:nvCxnSpPr>
          <p:cNvPr id="51" name="Connecteur droit avec flèche 50">
            <a:extLst>
              <a:ext uri="{FF2B5EF4-FFF2-40B4-BE49-F238E27FC236}">
                <a16:creationId xmlns:a16="http://schemas.microsoft.com/office/drawing/2014/main" id="{864B572F-ED4C-CA75-8A3D-B3AA6186BF52}"/>
              </a:ext>
            </a:extLst>
          </p:cNvPr>
          <p:cNvCxnSpPr>
            <a:cxnSpLocks/>
            <a:stCxn id="53" idx="1"/>
            <a:endCxn id="7" idx="3"/>
          </p:cNvCxnSpPr>
          <p:nvPr/>
        </p:nvCxnSpPr>
        <p:spPr>
          <a:xfrm flipH="1">
            <a:off x="5046656" y="1704474"/>
            <a:ext cx="3388200" cy="1159998"/>
          </a:xfrm>
          <a:prstGeom prst="straightConnector1">
            <a:avLst/>
          </a:prstGeom>
          <a:ln>
            <a:headEnd type="arrow"/>
            <a:tailEnd type="non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a:extLst>
              <a:ext uri="{FF2B5EF4-FFF2-40B4-BE49-F238E27FC236}">
                <a16:creationId xmlns:a16="http://schemas.microsoft.com/office/drawing/2014/main" id="{623EEE1A-1736-0CE2-4FFD-8F49AF2E887E}"/>
              </a:ext>
            </a:extLst>
          </p:cNvPr>
          <p:cNvCxnSpPr>
            <a:cxnSpLocks/>
            <a:stCxn id="64" idx="1"/>
            <a:endCxn id="7" idx="3"/>
          </p:cNvCxnSpPr>
          <p:nvPr/>
        </p:nvCxnSpPr>
        <p:spPr>
          <a:xfrm flipH="1" flipV="1">
            <a:off x="5046656" y="2864472"/>
            <a:ext cx="4759800" cy="211602"/>
          </a:xfrm>
          <a:prstGeom prst="straightConnector1">
            <a:avLst/>
          </a:prstGeom>
          <a:ln>
            <a:headEnd type="arrow"/>
            <a:tailEnd type="none"/>
          </a:ln>
        </p:spPr>
        <p:style>
          <a:lnRef idx="1">
            <a:schemeClr val="accent1"/>
          </a:lnRef>
          <a:fillRef idx="0">
            <a:schemeClr val="accent1"/>
          </a:fillRef>
          <a:effectRef idx="0">
            <a:schemeClr val="accent1"/>
          </a:effectRef>
          <a:fontRef idx="minor">
            <a:schemeClr val="tx1"/>
          </a:fontRef>
        </p:style>
      </p:cxnSp>
      <p:cxnSp>
        <p:nvCxnSpPr>
          <p:cNvPr id="66" name="Connecteur droit avec flèche 65">
            <a:extLst>
              <a:ext uri="{FF2B5EF4-FFF2-40B4-BE49-F238E27FC236}">
                <a16:creationId xmlns:a16="http://schemas.microsoft.com/office/drawing/2014/main" id="{6B6B3F9B-2CCF-F2D2-D3DD-3D7CF4805240}"/>
              </a:ext>
            </a:extLst>
          </p:cNvPr>
          <p:cNvCxnSpPr>
            <a:cxnSpLocks/>
            <a:stCxn id="67" idx="1"/>
            <a:endCxn id="7" idx="3"/>
          </p:cNvCxnSpPr>
          <p:nvPr/>
        </p:nvCxnSpPr>
        <p:spPr>
          <a:xfrm flipH="1" flipV="1">
            <a:off x="5046656" y="2864472"/>
            <a:ext cx="5064600" cy="516402"/>
          </a:xfrm>
          <a:prstGeom prst="straightConnector1">
            <a:avLst/>
          </a:prstGeom>
          <a:ln>
            <a:headEnd type="arrow"/>
            <a:tailEnd type="none"/>
          </a:ln>
        </p:spPr>
        <p:style>
          <a:lnRef idx="1">
            <a:schemeClr val="accent1"/>
          </a:lnRef>
          <a:fillRef idx="0">
            <a:schemeClr val="accent1"/>
          </a:fillRef>
          <a:effectRef idx="0">
            <a:schemeClr val="accent1"/>
          </a:effectRef>
          <a:fontRef idx="minor">
            <a:schemeClr val="tx1"/>
          </a:fontRef>
        </p:style>
      </p:cxnSp>
      <p:sp>
        <p:nvSpPr>
          <p:cNvPr id="75" name="ZoneTexte 74">
            <a:extLst>
              <a:ext uri="{FF2B5EF4-FFF2-40B4-BE49-F238E27FC236}">
                <a16:creationId xmlns:a16="http://schemas.microsoft.com/office/drawing/2014/main" id="{FFC6A54D-8441-1E84-8B21-8DFB9B0D4A9D}"/>
              </a:ext>
            </a:extLst>
          </p:cNvPr>
          <p:cNvSpPr txBox="1"/>
          <p:nvPr/>
        </p:nvSpPr>
        <p:spPr>
          <a:xfrm>
            <a:off x="6564472" y="2332323"/>
            <a:ext cx="2291012" cy="461665"/>
          </a:xfrm>
          <a:prstGeom prst="rect">
            <a:avLst/>
          </a:prstGeom>
          <a:noFill/>
        </p:spPr>
        <p:txBody>
          <a:bodyPr wrap="none" rtlCol="0">
            <a:spAutoFit/>
          </a:bodyPr>
          <a:lstStyle/>
          <a:p>
            <a:r>
              <a:rPr lang="en-US" sz="1200" dirty="0"/>
              <a:t>There are </a:t>
            </a:r>
            <a:r>
              <a:rPr lang="en-US" sz="1200" b="1" dirty="0"/>
              <a:t>m </a:t>
            </a:r>
            <a:r>
              <a:rPr lang="en-US" sz="1200" dirty="0"/>
              <a:t>partners retailing </a:t>
            </a:r>
            <a:br>
              <a:rPr lang="en-US" sz="1200" dirty="0"/>
            </a:br>
            <a:r>
              <a:rPr lang="en-US" sz="1200" dirty="0" err="1"/>
              <a:t>Coorp</a:t>
            </a:r>
            <a:r>
              <a:rPr lang="en-US" sz="1200" dirty="0"/>
              <a:t> A products</a:t>
            </a:r>
          </a:p>
        </p:txBody>
      </p:sp>
      <p:pic>
        <p:nvPicPr>
          <p:cNvPr id="32" name="Image 31">
            <a:extLst>
              <a:ext uri="{FF2B5EF4-FFF2-40B4-BE49-F238E27FC236}">
                <a16:creationId xmlns:a16="http://schemas.microsoft.com/office/drawing/2014/main" id="{9D963E41-842C-EA4D-E121-254019266B0E}"/>
              </a:ext>
            </a:extLst>
          </p:cNvPr>
          <p:cNvPicPr>
            <a:picLocks noChangeAspect="1"/>
          </p:cNvPicPr>
          <p:nvPr/>
        </p:nvPicPr>
        <p:blipFill>
          <a:blip r:embed="rId6"/>
          <a:stretch>
            <a:fillRect/>
          </a:stretch>
        </p:blipFill>
        <p:spPr>
          <a:xfrm>
            <a:off x="8130056" y="994708"/>
            <a:ext cx="768123" cy="809932"/>
          </a:xfrm>
          <a:prstGeom prst="rect">
            <a:avLst/>
          </a:prstGeom>
        </p:spPr>
      </p:pic>
      <p:pic>
        <p:nvPicPr>
          <p:cNvPr id="52" name="Image 51">
            <a:extLst>
              <a:ext uri="{FF2B5EF4-FFF2-40B4-BE49-F238E27FC236}">
                <a16:creationId xmlns:a16="http://schemas.microsoft.com/office/drawing/2014/main" id="{2424AA27-A2AE-E8BA-2DE2-B48B30897D92}"/>
              </a:ext>
            </a:extLst>
          </p:cNvPr>
          <p:cNvPicPr>
            <a:picLocks noChangeAspect="1"/>
          </p:cNvPicPr>
          <p:nvPr/>
        </p:nvPicPr>
        <p:blipFill>
          <a:blip r:embed="rId6"/>
          <a:stretch>
            <a:fillRect/>
          </a:stretch>
        </p:blipFill>
        <p:spPr>
          <a:xfrm>
            <a:off x="8282456" y="1147108"/>
            <a:ext cx="768123" cy="809932"/>
          </a:xfrm>
          <a:prstGeom prst="rect">
            <a:avLst/>
          </a:prstGeom>
        </p:spPr>
      </p:pic>
      <p:pic>
        <p:nvPicPr>
          <p:cNvPr id="53" name="Image 52">
            <a:extLst>
              <a:ext uri="{FF2B5EF4-FFF2-40B4-BE49-F238E27FC236}">
                <a16:creationId xmlns:a16="http://schemas.microsoft.com/office/drawing/2014/main" id="{F853B460-9237-CD12-44C2-684AA08312EE}"/>
              </a:ext>
            </a:extLst>
          </p:cNvPr>
          <p:cNvPicPr>
            <a:picLocks noChangeAspect="1"/>
          </p:cNvPicPr>
          <p:nvPr/>
        </p:nvPicPr>
        <p:blipFill>
          <a:blip r:embed="rId6"/>
          <a:stretch>
            <a:fillRect/>
          </a:stretch>
        </p:blipFill>
        <p:spPr>
          <a:xfrm>
            <a:off x="8434856" y="1299508"/>
            <a:ext cx="768123" cy="809932"/>
          </a:xfrm>
          <a:prstGeom prst="rect">
            <a:avLst/>
          </a:prstGeom>
        </p:spPr>
      </p:pic>
      <p:pic>
        <p:nvPicPr>
          <p:cNvPr id="54" name="Image 53">
            <a:extLst>
              <a:ext uri="{FF2B5EF4-FFF2-40B4-BE49-F238E27FC236}">
                <a16:creationId xmlns:a16="http://schemas.microsoft.com/office/drawing/2014/main" id="{75D5C9E0-7F66-48B3-4654-D8A29A2B7D20}"/>
              </a:ext>
            </a:extLst>
          </p:cNvPr>
          <p:cNvPicPr>
            <a:picLocks noChangeAspect="1"/>
          </p:cNvPicPr>
          <p:nvPr/>
        </p:nvPicPr>
        <p:blipFill>
          <a:blip r:embed="rId6"/>
          <a:stretch>
            <a:fillRect/>
          </a:stretch>
        </p:blipFill>
        <p:spPr>
          <a:xfrm>
            <a:off x="8587256" y="1451908"/>
            <a:ext cx="768123" cy="809932"/>
          </a:xfrm>
          <a:prstGeom prst="rect">
            <a:avLst/>
          </a:prstGeom>
        </p:spPr>
      </p:pic>
      <p:pic>
        <p:nvPicPr>
          <p:cNvPr id="55" name="Image 54">
            <a:extLst>
              <a:ext uri="{FF2B5EF4-FFF2-40B4-BE49-F238E27FC236}">
                <a16:creationId xmlns:a16="http://schemas.microsoft.com/office/drawing/2014/main" id="{99E99DE4-4879-5A3B-2A26-3470140EA34C}"/>
              </a:ext>
            </a:extLst>
          </p:cNvPr>
          <p:cNvPicPr>
            <a:picLocks noChangeAspect="1"/>
          </p:cNvPicPr>
          <p:nvPr/>
        </p:nvPicPr>
        <p:blipFill>
          <a:blip r:embed="rId6"/>
          <a:stretch>
            <a:fillRect/>
          </a:stretch>
        </p:blipFill>
        <p:spPr>
          <a:xfrm>
            <a:off x="8739656" y="1604308"/>
            <a:ext cx="768123" cy="809932"/>
          </a:xfrm>
          <a:prstGeom prst="rect">
            <a:avLst/>
          </a:prstGeom>
        </p:spPr>
      </p:pic>
      <p:pic>
        <p:nvPicPr>
          <p:cNvPr id="56" name="Image 55">
            <a:extLst>
              <a:ext uri="{FF2B5EF4-FFF2-40B4-BE49-F238E27FC236}">
                <a16:creationId xmlns:a16="http://schemas.microsoft.com/office/drawing/2014/main" id="{BF88CB56-4494-AB16-98E3-AB2EDD5F4997}"/>
              </a:ext>
            </a:extLst>
          </p:cNvPr>
          <p:cNvPicPr>
            <a:picLocks noChangeAspect="1"/>
          </p:cNvPicPr>
          <p:nvPr/>
        </p:nvPicPr>
        <p:blipFill>
          <a:blip r:embed="rId6"/>
          <a:stretch>
            <a:fillRect/>
          </a:stretch>
        </p:blipFill>
        <p:spPr>
          <a:xfrm>
            <a:off x="8892056" y="1756708"/>
            <a:ext cx="768123" cy="809932"/>
          </a:xfrm>
          <a:prstGeom prst="rect">
            <a:avLst/>
          </a:prstGeom>
        </p:spPr>
      </p:pic>
      <p:pic>
        <p:nvPicPr>
          <p:cNvPr id="57" name="Image 56">
            <a:extLst>
              <a:ext uri="{FF2B5EF4-FFF2-40B4-BE49-F238E27FC236}">
                <a16:creationId xmlns:a16="http://schemas.microsoft.com/office/drawing/2014/main" id="{5A145296-C4AC-6522-1E02-C237B284298C}"/>
              </a:ext>
            </a:extLst>
          </p:cNvPr>
          <p:cNvPicPr>
            <a:picLocks noChangeAspect="1"/>
          </p:cNvPicPr>
          <p:nvPr/>
        </p:nvPicPr>
        <p:blipFill>
          <a:blip r:embed="rId6"/>
          <a:stretch>
            <a:fillRect/>
          </a:stretch>
        </p:blipFill>
        <p:spPr>
          <a:xfrm>
            <a:off x="9044456" y="1909108"/>
            <a:ext cx="768123" cy="809932"/>
          </a:xfrm>
          <a:prstGeom prst="rect">
            <a:avLst/>
          </a:prstGeom>
        </p:spPr>
      </p:pic>
      <p:pic>
        <p:nvPicPr>
          <p:cNvPr id="58" name="Image 57">
            <a:extLst>
              <a:ext uri="{FF2B5EF4-FFF2-40B4-BE49-F238E27FC236}">
                <a16:creationId xmlns:a16="http://schemas.microsoft.com/office/drawing/2014/main" id="{5B4CA25D-16CB-C92D-8265-924F9E66736E}"/>
              </a:ext>
            </a:extLst>
          </p:cNvPr>
          <p:cNvPicPr>
            <a:picLocks noChangeAspect="1"/>
          </p:cNvPicPr>
          <p:nvPr/>
        </p:nvPicPr>
        <p:blipFill>
          <a:blip r:embed="rId6"/>
          <a:stretch>
            <a:fillRect/>
          </a:stretch>
        </p:blipFill>
        <p:spPr>
          <a:xfrm>
            <a:off x="9196856" y="2061508"/>
            <a:ext cx="768123" cy="809932"/>
          </a:xfrm>
          <a:prstGeom prst="rect">
            <a:avLst/>
          </a:prstGeom>
        </p:spPr>
      </p:pic>
      <p:pic>
        <p:nvPicPr>
          <p:cNvPr id="59" name="Image 58">
            <a:extLst>
              <a:ext uri="{FF2B5EF4-FFF2-40B4-BE49-F238E27FC236}">
                <a16:creationId xmlns:a16="http://schemas.microsoft.com/office/drawing/2014/main" id="{6B09EB1E-6D24-4EAD-F1EA-379673EA5432}"/>
              </a:ext>
            </a:extLst>
          </p:cNvPr>
          <p:cNvPicPr>
            <a:picLocks noChangeAspect="1"/>
          </p:cNvPicPr>
          <p:nvPr/>
        </p:nvPicPr>
        <p:blipFill>
          <a:blip r:embed="rId6"/>
          <a:stretch>
            <a:fillRect/>
          </a:stretch>
        </p:blipFill>
        <p:spPr>
          <a:xfrm>
            <a:off x="9349256" y="2213908"/>
            <a:ext cx="768123" cy="809932"/>
          </a:xfrm>
          <a:prstGeom prst="rect">
            <a:avLst/>
          </a:prstGeom>
        </p:spPr>
      </p:pic>
      <p:pic>
        <p:nvPicPr>
          <p:cNvPr id="60" name="Image 59">
            <a:extLst>
              <a:ext uri="{FF2B5EF4-FFF2-40B4-BE49-F238E27FC236}">
                <a16:creationId xmlns:a16="http://schemas.microsoft.com/office/drawing/2014/main" id="{BDF0DBFE-5746-41E1-6DC2-96989C44595F}"/>
              </a:ext>
            </a:extLst>
          </p:cNvPr>
          <p:cNvPicPr>
            <a:picLocks noChangeAspect="1"/>
          </p:cNvPicPr>
          <p:nvPr/>
        </p:nvPicPr>
        <p:blipFill>
          <a:blip r:embed="rId6"/>
          <a:stretch>
            <a:fillRect/>
          </a:stretch>
        </p:blipFill>
        <p:spPr>
          <a:xfrm>
            <a:off x="9501656" y="2366308"/>
            <a:ext cx="768123" cy="809932"/>
          </a:xfrm>
          <a:prstGeom prst="rect">
            <a:avLst/>
          </a:prstGeom>
        </p:spPr>
      </p:pic>
      <p:pic>
        <p:nvPicPr>
          <p:cNvPr id="61" name="Image 60">
            <a:extLst>
              <a:ext uri="{FF2B5EF4-FFF2-40B4-BE49-F238E27FC236}">
                <a16:creationId xmlns:a16="http://schemas.microsoft.com/office/drawing/2014/main" id="{7DA96690-73CB-0A84-F230-D1D38E393721}"/>
              </a:ext>
            </a:extLst>
          </p:cNvPr>
          <p:cNvPicPr>
            <a:picLocks noChangeAspect="1"/>
          </p:cNvPicPr>
          <p:nvPr/>
        </p:nvPicPr>
        <p:blipFill>
          <a:blip r:embed="rId6"/>
          <a:stretch>
            <a:fillRect/>
          </a:stretch>
        </p:blipFill>
        <p:spPr>
          <a:xfrm>
            <a:off x="9654056" y="2518708"/>
            <a:ext cx="768123" cy="809932"/>
          </a:xfrm>
          <a:prstGeom prst="rect">
            <a:avLst/>
          </a:prstGeom>
        </p:spPr>
      </p:pic>
      <p:pic>
        <p:nvPicPr>
          <p:cNvPr id="64" name="Image 63">
            <a:extLst>
              <a:ext uri="{FF2B5EF4-FFF2-40B4-BE49-F238E27FC236}">
                <a16:creationId xmlns:a16="http://schemas.microsoft.com/office/drawing/2014/main" id="{A67586E1-761A-7A63-54DF-7F224BECCDA8}"/>
              </a:ext>
            </a:extLst>
          </p:cNvPr>
          <p:cNvPicPr>
            <a:picLocks noChangeAspect="1"/>
          </p:cNvPicPr>
          <p:nvPr/>
        </p:nvPicPr>
        <p:blipFill>
          <a:blip r:embed="rId6"/>
          <a:stretch>
            <a:fillRect/>
          </a:stretch>
        </p:blipFill>
        <p:spPr>
          <a:xfrm>
            <a:off x="9806456" y="2671108"/>
            <a:ext cx="768123" cy="809932"/>
          </a:xfrm>
          <a:prstGeom prst="rect">
            <a:avLst/>
          </a:prstGeom>
        </p:spPr>
      </p:pic>
      <p:pic>
        <p:nvPicPr>
          <p:cNvPr id="65" name="Image 64">
            <a:extLst>
              <a:ext uri="{FF2B5EF4-FFF2-40B4-BE49-F238E27FC236}">
                <a16:creationId xmlns:a16="http://schemas.microsoft.com/office/drawing/2014/main" id="{40D68F98-5AD0-FCA2-78A8-59B8366F9D08}"/>
              </a:ext>
            </a:extLst>
          </p:cNvPr>
          <p:cNvPicPr>
            <a:picLocks noChangeAspect="1"/>
          </p:cNvPicPr>
          <p:nvPr/>
        </p:nvPicPr>
        <p:blipFill>
          <a:blip r:embed="rId6"/>
          <a:stretch>
            <a:fillRect/>
          </a:stretch>
        </p:blipFill>
        <p:spPr>
          <a:xfrm>
            <a:off x="9958856" y="2823508"/>
            <a:ext cx="768123" cy="809932"/>
          </a:xfrm>
          <a:prstGeom prst="rect">
            <a:avLst/>
          </a:prstGeom>
        </p:spPr>
      </p:pic>
      <p:pic>
        <p:nvPicPr>
          <p:cNvPr id="67" name="Image 66">
            <a:extLst>
              <a:ext uri="{FF2B5EF4-FFF2-40B4-BE49-F238E27FC236}">
                <a16:creationId xmlns:a16="http://schemas.microsoft.com/office/drawing/2014/main" id="{E2F2D450-9F6A-6902-9CDC-6243AA4E3797}"/>
              </a:ext>
            </a:extLst>
          </p:cNvPr>
          <p:cNvPicPr>
            <a:picLocks noChangeAspect="1"/>
          </p:cNvPicPr>
          <p:nvPr/>
        </p:nvPicPr>
        <p:blipFill>
          <a:blip r:embed="rId6"/>
          <a:stretch>
            <a:fillRect/>
          </a:stretch>
        </p:blipFill>
        <p:spPr>
          <a:xfrm>
            <a:off x="10111256" y="2975908"/>
            <a:ext cx="768123" cy="809932"/>
          </a:xfrm>
          <a:prstGeom prst="rect">
            <a:avLst/>
          </a:prstGeom>
        </p:spPr>
      </p:pic>
      <p:pic>
        <p:nvPicPr>
          <p:cNvPr id="68" name="Image 67">
            <a:extLst>
              <a:ext uri="{FF2B5EF4-FFF2-40B4-BE49-F238E27FC236}">
                <a16:creationId xmlns:a16="http://schemas.microsoft.com/office/drawing/2014/main" id="{35AF2B7D-EE63-1217-6027-5E12AC8A0D0D}"/>
              </a:ext>
            </a:extLst>
          </p:cNvPr>
          <p:cNvPicPr>
            <a:picLocks noChangeAspect="1"/>
          </p:cNvPicPr>
          <p:nvPr/>
        </p:nvPicPr>
        <p:blipFill>
          <a:blip r:embed="rId6"/>
          <a:stretch>
            <a:fillRect/>
          </a:stretch>
        </p:blipFill>
        <p:spPr>
          <a:xfrm>
            <a:off x="10263656" y="3128308"/>
            <a:ext cx="768123" cy="809932"/>
          </a:xfrm>
          <a:prstGeom prst="rect">
            <a:avLst/>
          </a:prstGeom>
        </p:spPr>
      </p:pic>
      <p:cxnSp>
        <p:nvCxnSpPr>
          <p:cNvPr id="98" name="Connecteur droit avec flèche 97">
            <a:extLst>
              <a:ext uri="{FF2B5EF4-FFF2-40B4-BE49-F238E27FC236}">
                <a16:creationId xmlns:a16="http://schemas.microsoft.com/office/drawing/2014/main" id="{FA723A59-5CA6-51DA-F9A9-16989FE76262}"/>
              </a:ext>
            </a:extLst>
          </p:cNvPr>
          <p:cNvCxnSpPr>
            <a:cxnSpLocks/>
            <a:stCxn id="7" idx="2"/>
            <a:endCxn id="5" idx="0"/>
          </p:cNvCxnSpPr>
          <p:nvPr/>
        </p:nvCxnSpPr>
        <p:spPr>
          <a:xfrm>
            <a:off x="4445598" y="3465530"/>
            <a:ext cx="0" cy="2576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D3ED8557-6B71-C207-CFBC-0760DACACDA1}"/>
              </a:ext>
            </a:extLst>
          </p:cNvPr>
          <p:cNvSpPr txBox="1">
            <a:spLocks noGrp="1"/>
          </p:cNvSpPr>
          <p:nvPr>
            <p:ph type="title"/>
          </p:nvPr>
        </p:nvSpPr>
        <p:spPr>
          <a:xfrm>
            <a:off x="445927" y="156504"/>
            <a:ext cx="10445456" cy="6096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accent1"/>
                </a:solidFill>
                <a:latin typeface="+mn-lt"/>
                <a:ea typeface="+mj-ea"/>
                <a:cs typeface="+mj-cs"/>
              </a:defRPr>
            </a:lvl1pPr>
          </a:lstStyle>
          <a:p>
            <a:r>
              <a:rPr lang="en-IN" dirty="0"/>
              <a:t>Base requirements | Supplier - Retailer</a:t>
            </a:r>
          </a:p>
        </p:txBody>
      </p:sp>
      <p:sp>
        <p:nvSpPr>
          <p:cNvPr id="2" name="Date Placeholder 1">
            <a:extLst>
              <a:ext uri="{FF2B5EF4-FFF2-40B4-BE49-F238E27FC236}">
                <a16:creationId xmlns:a16="http://schemas.microsoft.com/office/drawing/2014/main" id="{13CAF9E8-7A0C-C858-5D3F-6E2AFBDE9D78}"/>
              </a:ext>
            </a:extLst>
          </p:cNvPr>
          <p:cNvSpPr>
            <a:spLocks noGrp="1"/>
          </p:cNvSpPr>
          <p:nvPr>
            <p:ph type="dt" sz="half" idx="10"/>
          </p:nvPr>
        </p:nvSpPr>
        <p:spPr/>
        <p:txBody>
          <a:bodyPr/>
          <a:lstStyle/>
          <a:p>
            <a:r>
              <a:rPr lang="de-DE"/>
              <a:t>02 November 2025</a:t>
            </a:r>
            <a:endParaRPr lang="en-US"/>
          </a:p>
        </p:txBody>
      </p:sp>
      <p:sp>
        <p:nvSpPr>
          <p:cNvPr id="3" name="Footer Placeholder 2">
            <a:extLst>
              <a:ext uri="{FF2B5EF4-FFF2-40B4-BE49-F238E27FC236}">
                <a16:creationId xmlns:a16="http://schemas.microsoft.com/office/drawing/2014/main" id="{58D8062C-3E37-85D9-A598-3684122EE168}"/>
              </a:ext>
            </a:extLst>
          </p:cNvPr>
          <p:cNvSpPr>
            <a:spLocks noGrp="1"/>
          </p:cNvSpPr>
          <p:nvPr>
            <p:ph type="ftr" sz="quarter" idx="11"/>
          </p:nvPr>
        </p:nvSpPr>
        <p:spPr/>
        <p:txBody>
          <a:bodyPr/>
          <a:lstStyle/>
          <a:p>
            <a:r>
              <a:rPr lang="en-US"/>
              <a:t>APMWG</a:t>
            </a:r>
          </a:p>
        </p:txBody>
      </p:sp>
      <p:sp>
        <p:nvSpPr>
          <p:cNvPr id="8" name="Slide Number Placeholder 7">
            <a:extLst>
              <a:ext uri="{FF2B5EF4-FFF2-40B4-BE49-F238E27FC236}">
                <a16:creationId xmlns:a16="http://schemas.microsoft.com/office/drawing/2014/main" id="{DCBA11D3-331B-5FAB-2A4C-F7E8D67E59C1}"/>
              </a:ext>
            </a:extLst>
          </p:cNvPr>
          <p:cNvSpPr>
            <a:spLocks noGrp="1"/>
          </p:cNvSpPr>
          <p:nvPr>
            <p:ph type="sldNum" sz="quarter" idx="12"/>
          </p:nvPr>
        </p:nvSpPr>
        <p:spPr/>
        <p:txBody>
          <a:bodyPr/>
          <a:lstStyle/>
          <a:p>
            <a:fld id="{1A9E565A-6679-4A67-8FB7-14EA342FD6E1}" type="slidenum">
              <a:rPr lang="en-US" smtClean="0"/>
              <a:pPr/>
              <a:t>14</a:t>
            </a:fld>
            <a:endParaRPr lang="en-US"/>
          </a:p>
        </p:txBody>
      </p:sp>
      <p:sp>
        <p:nvSpPr>
          <p:cNvPr id="9" name="Oval 8">
            <a:extLst>
              <a:ext uri="{FF2B5EF4-FFF2-40B4-BE49-F238E27FC236}">
                <a16:creationId xmlns:a16="http://schemas.microsoft.com/office/drawing/2014/main" id="{33A1479B-C3FC-1AA4-8814-157C4FAD3EAA}"/>
              </a:ext>
            </a:extLst>
          </p:cNvPr>
          <p:cNvSpPr/>
          <p:nvPr/>
        </p:nvSpPr>
        <p:spPr>
          <a:xfrm>
            <a:off x="1274135" y="3722650"/>
            <a:ext cx="1050170" cy="105017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ZoneTexte 56">
            <a:extLst>
              <a:ext uri="{FF2B5EF4-FFF2-40B4-BE49-F238E27FC236}">
                <a16:creationId xmlns:a16="http://schemas.microsoft.com/office/drawing/2014/main" id="{A20E98FE-D621-07CC-8F25-0A932FC38EDF}"/>
              </a:ext>
            </a:extLst>
          </p:cNvPr>
          <p:cNvSpPr txBox="1"/>
          <p:nvPr/>
        </p:nvSpPr>
        <p:spPr>
          <a:xfrm>
            <a:off x="1337217" y="4744178"/>
            <a:ext cx="924005" cy="276999"/>
          </a:xfrm>
          <a:prstGeom prst="rect">
            <a:avLst/>
          </a:prstGeom>
          <a:noFill/>
        </p:spPr>
        <p:txBody>
          <a:bodyPr wrap="square" rtlCol="0">
            <a:spAutoFit/>
          </a:bodyPr>
          <a:lstStyle/>
          <a:p>
            <a:pPr algn="ctr" defTabSz="914377"/>
            <a:r>
              <a:rPr lang="en-US" sz="1200" dirty="0">
                <a:solidFill>
                  <a:prstClr val="black"/>
                </a:solidFill>
              </a:rPr>
              <a:t>Traveler</a:t>
            </a:r>
            <a:endParaRPr lang="en-US" dirty="0">
              <a:solidFill>
                <a:prstClr val="black"/>
              </a:solidFill>
            </a:endParaRPr>
          </a:p>
        </p:txBody>
      </p:sp>
      <p:pic>
        <p:nvPicPr>
          <p:cNvPr id="11" name="Picture 10" descr="A blue icon of a person with a luggage bag&#10;&#10;AI-generated content may be incorrect.">
            <a:extLst>
              <a:ext uri="{FF2B5EF4-FFF2-40B4-BE49-F238E27FC236}">
                <a16:creationId xmlns:a16="http://schemas.microsoft.com/office/drawing/2014/main" id="{454CFE13-A46F-917F-D6CD-92253BC59EB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98859" y="3681927"/>
            <a:ext cx="1061754" cy="1061754"/>
          </a:xfrm>
          <a:prstGeom prst="rect">
            <a:avLst/>
          </a:prstGeom>
        </p:spPr>
      </p:pic>
      <p:sp>
        <p:nvSpPr>
          <p:cNvPr id="26" name="Rectangle 25">
            <a:extLst>
              <a:ext uri="{FF2B5EF4-FFF2-40B4-BE49-F238E27FC236}">
                <a16:creationId xmlns:a16="http://schemas.microsoft.com/office/drawing/2014/main" id="{1C27EA05-E830-F7B9-CE79-EED9F619B848}"/>
              </a:ext>
            </a:extLst>
          </p:cNvPr>
          <p:cNvSpPr/>
          <p:nvPr/>
        </p:nvSpPr>
        <p:spPr>
          <a:xfrm>
            <a:off x="1120263" y="5236349"/>
            <a:ext cx="9951473" cy="706795"/>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1"/>
                </a:solidFill>
              </a:rPr>
              <a:t>Base requirements :</a:t>
            </a:r>
          </a:p>
          <a:p>
            <a:pPr marL="228600" indent="-228600">
              <a:buFont typeface="+mj-lt"/>
              <a:buAutoNum type="arabicParenR"/>
            </a:pPr>
            <a:r>
              <a:rPr lang="en-US" sz="1200" dirty="0">
                <a:solidFill>
                  <a:schemeClr val="tx1"/>
                </a:solidFill>
              </a:rPr>
              <a:t>Create and transfer m sets in such a way that all can read and interpret them, m is the number of partners who can retail our products</a:t>
            </a:r>
          </a:p>
          <a:p>
            <a:pPr marL="228600" indent="-228600">
              <a:buFont typeface="+mj-lt"/>
              <a:buAutoNum type="arabicParenR"/>
            </a:pPr>
            <a:r>
              <a:rPr lang="en-US" sz="1200" dirty="0">
                <a:solidFill>
                  <a:schemeClr val="tx1"/>
                </a:solidFill>
              </a:rPr>
              <a:t>Maintain up-to-date all m sets of product management information with the retailer(s)</a:t>
            </a:r>
          </a:p>
        </p:txBody>
      </p:sp>
    </p:spTree>
    <p:extLst>
      <p:ext uri="{BB962C8B-B14F-4D97-AF65-F5344CB8AC3E}">
        <p14:creationId xmlns:p14="http://schemas.microsoft.com/office/powerpoint/2010/main" val="1866743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74EA90-65D4-ED99-6CD4-D0209421314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BC6BA1-47ED-09D1-23F8-3699E3C43743}"/>
              </a:ext>
            </a:extLst>
          </p:cNvPr>
          <p:cNvGraphicFramePr>
            <a:graphicFrameLocks noChangeAspect="1"/>
          </p:cNvGraphicFramePr>
          <p:nvPr>
            <p:custDataLst>
              <p:tags r:id="rId1"/>
            </p:custDataLst>
            <p:extLst>
              <p:ext uri="{D42A27DB-BD31-4B8C-83A1-F6EECF244321}">
                <p14:modId xmlns:p14="http://schemas.microsoft.com/office/powerpoint/2010/main" val="2382330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D8BC6BA1-47ED-09D1-23F8-3699E3C43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B53A9D-2B7D-8BAD-C35A-9DF942580C07}"/>
              </a:ext>
            </a:extLst>
          </p:cNvPr>
          <p:cNvSpPr txBox="1">
            <a:spLocks noGrp="1"/>
          </p:cNvSpPr>
          <p:nvPr>
            <p:ph type="title"/>
          </p:nvPr>
        </p:nvSpPr>
        <p:spPr>
          <a:xfrm>
            <a:off x="475407" y="318498"/>
            <a:ext cx="10445456" cy="6096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accent1"/>
                </a:solidFill>
                <a:latin typeface="+mn-lt"/>
                <a:ea typeface="+mj-ea"/>
                <a:cs typeface="+mj-cs"/>
              </a:defRPr>
            </a:lvl1pPr>
          </a:lstStyle>
          <a:p>
            <a:r>
              <a:rPr lang="en-IN" dirty="0"/>
              <a:t>Base Principles</a:t>
            </a:r>
          </a:p>
        </p:txBody>
      </p:sp>
      <p:sp>
        <p:nvSpPr>
          <p:cNvPr id="4" name="Date Placeholder 3">
            <a:extLst>
              <a:ext uri="{FF2B5EF4-FFF2-40B4-BE49-F238E27FC236}">
                <a16:creationId xmlns:a16="http://schemas.microsoft.com/office/drawing/2014/main" id="{9B7E439F-681E-5280-0054-CFD2C0461A29}"/>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8F7D2006-AF63-E821-BD67-3D57E7F58884}"/>
              </a:ext>
            </a:extLst>
          </p:cNvPr>
          <p:cNvSpPr>
            <a:spLocks noGrp="1"/>
          </p:cNvSpPr>
          <p:nvPr>
            <p:ph type="ftr" sz="quarter" idx="11"/>
          </p:nvPr>
        </p:nvSpPr>
        <p:spPr/>
        <p:txBody>
          <a:bodyPr/>
          <a:lstStyle/>
          <a:p>
            <a:r>
              <a:rPr lang="en-US"/>
              <a:t>APMWG</a:t>
            </a:r>
          </a:p>
        </p:txBody>
      </p:sp>
      <p:sp>
        <p:nvSpPr>
          <p:cNvPr id="7" name="Slide Number Placeholder 6">
            <a:extLst>
              <a:ext uri="{FF2B5EF4-FFF2-40B4-BE49-F238E27FC236}">
                <a16:creationId xmlns:a16="http://schemas.microsoft.com/office/drawing/2014/main" id="{54DFB93A-DBB7-AB2F-5745-F68DC98C8787}"/>
              </a:ext>
            </a:extLst>
          </p:cNvPr>
          <p:cNvSpPr>
            <a:spLocks noGrp="1"/>
          </p:cNvSpPr>
          <p:nvPr>
            <p:ph type="sldNum" sz="quarter" idx="12"/>
          </p:nvPr>
        </p:nvSpPr>
        <p:spPr/>
        <p:txBody>
          <a:bodyPr/>
          <a:lstStyle/>
          <a:p>
            <a:fld id="{1A9E565A-6679-4A67-8FB7-14EA342FD6E1}" type="slidenum">
              <a:rPr lang="en-US" smtClean="0"/>
              <a:pPr/>
              <a:t>15</a:t>
            </a:fld>
            <a:endParaRPr lang="en-US"/>
          </a:p>
        </p:txBody>
      </p:sp>
      <p:sp>
        <p:nvSpPr>
          <p:cNvPr id="8" name="Rounded Rectangle 1">
            <a:extLst>
              <a:ext uri="{FF2B5EF4-FFF2-40B4-BE49-F238E27FC236}">
                <a16:creationId xmlns:a16="http://schemas.microsoft.com/office/drawing/2014/main" id="{7AAA9A1E-9D28-259B-29DF-A592D712390A}"/>
              </a:ext>
            </a:extLst>
          </p:cNvPr>
          <p:cNvSpPr/>
          <p:nvPr/>
        </p:nvSpPr>
        <p:spPr>
          <a:xfrm>
            <a:off x="2110317" y="3646201"/>
            <a:ext cx="3657600" cy="1257300"/>
          </a:xfrm>
          <a:custGeom>
            <a:avLst/>
            <a:gdLst/>
            <a:ahLst/>
            <a:cxnLst/>
            <a:rect l="0" t="0" r="0" b="0"/>
            <a:pathLst>
              <a:path w="3657600" h="1257300">
                <a:moveTo>
                  <a:pt x="3657600" y="1028700"/>
                </a:moveTo>
                <a:lnTo>
                  <a:pt x="3086100" y="1257300"/>
                </a:lnTo>
                <a:lnTo>
                  <a:pt x="571500" y="1257300"/>
                </a:lnTo>
                <a:lnTo>
                  <a:pt x="0" y="1028700"/>
                </a:lnTo>
                <a:lnTo>
                  <a:pt x="571500" y="0"/>
                </a:lnTo>
                <a:lnTo>
                  <a:pt x="3086100" y="0"/>
                </a:lnTo>
                <a:lnTo>
                  <a:pt x="3657600" y="1028700"/>
                </a:lnTo>
              </a:path>
            </a:pathLst>
          </a:custGeom>
          <a:solidFill>
            <a:schemeClr val="accent1"/>
          </a:solidFill>
          <a:ln>
            <a:noFill/>
          </a:ln>
        </p:spPr>
        <p:txBody>
          <a:bodyPr rtlCol="0" anchor="ctr"/>
          <a:lstStyle/>
          <a:p>
            <a:pPr algn="ctr"/>
            <a:endParaRPr/>
          </a:p>
        </p:txBody>
      </p:sp>
      <p:sp>
        <p:nvSpPr>
          <p:cNvPr id="9" name="Rounded Rectangle 2">
            <a:extLst>
              <a:ext uri="{FF2B5EF4-FFF2-40B4-BE49-F238E27FC236}">
                <a16:creationId xmlns:a16="http://schemas.microsoft.com/office/drawing/2014/main" id="{3303CD2D-D6C3-8734-9578-68684CC04EEF}"/>
              </a:ext>
            </a:extLst>
          </p:cNvPr>
          <p:cNvSpPr/>
          <p:nvPr/>
        </p:nvSpPr>
        <p:spPr>
          <a:xfrm>
            <a:off x="2110317" y="3646201"/>
            <a:ext cx="3657600" cy="1257300"/>
          </a:xfrm>
          <a:custGeom>
            <a:avLst/>
            <a:gdLst/>
            <a:ahLst/>
            <a:cxnLst/>
            <a:rect l="0" t="0" r="0" b="0"/>
            <a:pathLst>
              <a:path w="3657600" h="1257300">
                <a:moveTo>
                  <a:pt x="3086100" y="0"/>
                </a:moveTo>
                <a:lnTo>
                  <a:pt x="3657600" y="1028700"/>
                </a:lnTo>
                <a:lnTo>
                  <a:pt x="0" y="1028700"/>
                </a:lnTo>
                <a:lnTo>
                  <a:pt x="571500" y="0"/>
                </a:lnTo>
                <a:lnTo>
                  <a:pt x="3086100" y="0"/>
                </a:lnTo>
                <a:close/>
                <a:moveTo>
                  <a:pt x="3086100" y="1257300"/>
                </a:moveTo>
                <a:lnTo>
                  <a:pt x="3657600" y="1028700"/>
                </a:lnTo>
                <a:lnTo>
                  <a:pt x="0" y="1028700"/>
                </a:lnTo>
                <a:lnTo>
                  <a:pt x="571500" y="1257300"/>
                </a:lnTo>
                <a:lnTo>
                  <a:pt x="3086100" y="1257300"/>
                </a:lnTo>
                <a:close/>
              </a:path>
            </a:pathLst>
          </a:custGeom>
          <a:noFill/>
          <a:ln w="7143">
            <a:solidFill>
              <a:srgbClr val="FFFFFF"/>
            </a:solidFill>
          </a:ln>
        </p:spPr>
        <p:txBody>
          <a:bodyPr rtlCol="0" anchor="ctr"/>
          <a:lstStyle/>
          <a:p>
            <a:pPr algn="ctr"/>
            <a:endParaRPr/>
          </a:p>
        </p:txBody>
      </p:sp>
      <p:sp>
        <p:nvSpPr>
          <p:cNvPr id="10" name="Rounded Rectangle 3">
            <a:extLst>
              <a:ext uri="{FF2B5EF4-FFF2-40B4-BE49-F238E27FC236}">
                <a16:creationId xmlns:a16="http://schemas.microsoft.com/office/drawing/2014/main" id="{9B1E6559-2313-D7F9-8143-4DCD4D99FA9F}"/>
              </a:ext>
            </a:extLst>
          </p:cNvPr>
          <p:cNvSpPr/>
          <p:nvPr/>
        </p:nvSpPr>
        <p:spPr>
          <a:xfrm>
            <a:off x="5391679" y="3989102"/>
            <a:ext cx="4081462" cy="9525"/>
          </a:xfrm>
          <a:custGeom>
            <a:avLst/>
            <a:gdLst/>
            <a:ahLst/>
            <a:cxnLst/>
            <a:rect l="0" t="0" r="0" b="0"/>
            <a:pathLst>
              <a:path w="4081462" h="9525">
                <a:moveTo>
                  <a:pt x="4081462" y="15"/>
                </a:moveTo>
                <a:lnTo>
                  <a:pt x="0" y="0"/>
                </a:lnTo>
              </a:path>
            </a:pathLst>
          </a:custGeom>
          <a:noFill/>
          <a:ln w="7143">
            <a:solidFill>
              <a:schemeClr val="accent1"/>
            </a:solidFill>
          </a:ln>
        </p:spPr>
        <p:txBody>
          <a:bodyPr rtlCol="0" anchor="ctr"/>
          <a:lstStyle/>
          <a:p>
            <a:pPr algn="ctr"/>
            <a:endParaRPr/>
          </a:p>
        </p:txBody>
      </p:sp>
      <p:sp>
        <p:nvSpPr>
          <p:cNvPr id="11" name="Rounded Rectangle 4">
            <a:extLst>
              <a:ext uri="{FF2B5EF4-FFF2-40B4-BE49-F238E27FC236}">
                <a16:creationId xmlns:a16="http://schemas.microsoft.com/office/drawing/2014/main" id="{25432974-484B-2AE1-38DA-B433CFCF674A}"/>
              </a:ext>
            </a:extLst>
          </p:cNvPr>
          <p:cNvSpPr/>
          <p:nvPr/>
        </p:nvSpPr>
        <p:spPr>
          <a:xfrm>
            <a:off x="9482667" y="3960526"/>
            <a:ext cx="57150" cy="57150"/>
          </a:xfrm>
          <a:custGeom>
            <a:avLst/>
            <a:gdLst/>
            <a:ahLst/>
            <a:cxnLst/>
            <a:rect l="0" t="0" r="0" b="0"/>
            <a:pathLst>
              <a:path w="57150" h="57150">
                <a:moveTo>
                  <a:pt x="28575" y="57150"/>
                </a:moveTo>
                <a:cubicBezTo>
                  <a:pt x="44345" y="57150"/>
                  <a:pt x="57150" y="44345"/>
                  <a:pt x="57150" y="28575"/>
                </a:cubicBezTo>
                <a:cubicBezTo>
                  <a:pt x="57150" y="12804"/>
                  <a:pt x="44345" y="0"/>
                  <a:pt x="28575" y="0"/>
                </a:cubicBezTo>
                <a:cubicBezTo>
                  <a:pt x="12804" y="0"/>
                  <a:pt x="0" y="12804"/>
                  <a:pt x="0" y="28575"/>
                </a:cubicBezTo>
                <a:cubicBezTo>
                  <a:pt x="0" y="44345"/>
                  <a:pt x="12804" y="57150"/>
                  <a:pt x="28575" y="57150"/>
                </a:cubicBezTo>
                <a:close/>
              </a:path>
            </a:pathLst>
          </a:custGeom>
          <a:noFill/>
          <a:ln w="7143">
            <a:solidFill>
              <a:srgbClr val="4F92FF"/>
            </a:solidFill>
          </a:ln>
        </p:spPr>
        <p:txBody>
          <a:bodyPr rtlCol="0" anchor="ctr"/>
          <a:lstStyle/>
          <a:p>
            <a:pPr algn="ctr"/>
            <a:endParaRPr/>
          </a:p>
        </p:txBody>
      </p:sp>
      <p:sp>
        <p:nvSpPr>
          <p:cNvPr id="12" name="Rounded Rectangle 5">
            <a:extLst>
              <a:ext uri="{FF2B5EF4-FFF2-40B4-BE49-F238E27FC236}">
                <a16:creationId xmlns:a16="http://schemas.microsoft.com/office/drawing/2014/main" id="{E2C829A2-107E-2212-7AD9-82F8B94A041F}"/>
              </a:ext>
            </a:extLst>
          </p:cNvPr>
          <p:cNvSpPr/>
          <p:nvPr/>
        </p:nvSpPr>
        <p:spPr>
          <a:xfrm>
            <a:off x="2796117" y="2503201"/>
            <a:ext cx="2286000" cy="1143000"/>
          </a:xfrm>
          <a:custGeom>
            <a:avLst/>
            <a:gdLst/>
            <a:ahLst/>
            <a:cxnLst/>
            <a:rect l="0" t="0" r="0" b="0"/>
            <a:pathLst>
              <a:path w="2286000" h="1143000">
                <a:moveTo>
                  <a:pt x="2286000" y="914400"/>
                </a:moveTo>
                <a:lnTo>
                  <a:pt x="1828800" y="1143000"/>
                </a:lnTo>
                <a:lnTo>
                  <a:pt x="457200" y="1143000"/>
                </a:lnTo>
                <a:lnTo>
                  <a:pt x="0" y="914400"/>
                </a:lnTo>
                <a:lnTo>
                  <a:pt x="457200" y="0"/>
                </a:lnTo>
                <a:lnTo>
                  <a:pt x="1828800" y="0"/>
                </a:lnTo>
                <a:lnTo>
                  <a:pt x="2286000" y="914400"/>
                </a:lnTo>
              </a:path>
            </a:pathLst>
          </a:custGeom>
          <a:solidFill>
            <a:schemeClr val="accent1"/>
          </a:solidFill>
          <a:ln>
            <a:noFill/>
          </a:ln>
        </p:spPr>
        <p:txBody>
          <a:bodyPr rtlCol="0" anchor="ctr"/>
          <a:lstStyle/>
          <a:p>
            <a:pPr algn="ctr"/>
            <a:endParaRPr/>
          </a:p>
        </p:txBody>
      </p:sp>
      <p:sp>
        <p:nvSpPr>
          <p:cNvPr id="13" name="Rounded Rectangle 6">
            <a:extLst>
              <a:ext uri="{FF2B5EF4-FFF2-40B4-BE49-F238E27FC236}">
                <a16:creationId xmlns:a16="http://schemas.microsoft.com/office/drawing/2014/main" id="{88D54512-C07D-11BB-00FB-95A42C5F54EB}"/>
              </a:ext>
            </a:extLst>
          </p:cNvPr>
          <p:cNvSpPr/>
          <p:nvPr/>
        </p:nvSpPr>
        <p:spPr>
          <a:xfrm>
            <a:off x="2796117" y="2503201"/>
            <a:ext cx="2286000" cy="1143000"/>
          </a:xfrm>
          <a:custGeom>
            <a:avLst/>
            <a:gdLst/>
            <a:ahLst/>
            <a:cxnLst/>
            <a:rect l="0" t="0" r="0" b="0"/>
            <a:pathLst>
              <a:path w="2286000" h="1143000">
                <a:moveTo>
                  <a:pt x="1828800" y="0"/>
                </a:moveTo>
                <a:lnTo>
                  <a:pt x="2286000" y="914400"/>
                </a:lnTo>
                <a:lnTo>
                  <a:pt x="0" y="914400"/>
                </a:lnTo>
                <a:lnTo>
                  <a:pt x="457200" y="0"/>
                </a:lnTo>
                <a:lnTo>
                  <a:pt x="1828800" y="0"/>
                </a:lnTo>
                <a:close/>
                <a:moveTo>
                  <a:pt x="1828800" y="1143000"/>
                </a:moveTo>
                <a:lnTo>
                  <a:pt x="2286000" y="914400"/>
                </a:lnTo>
                <a:lnTo>
                  <a:pt x="0" y="914400"/>
                </a:lnTo>
                <a:lnTo>
                  <a:pt x="457200" y="1143000"/>
                </a:lnTo>
                <a:lnTo>
                  <a:pt x="1828800" y="1143000"/>
                </a:lnTo>
                <a:close/>
              </a:path>
            </a:pathLst>
          </a:custGeom>
          <a:noFill/>
          <a:ln w="7143">
            <a:solidFill>
              <a:srgbClr val="FFFFFF"/>
            </a:solidFill>
          </a:ln>
        </p:spPr>
        <p:txBody>
          <a:bodyPr rtlCol="0" anchor="ctr"/>
          <a:lstStyle/>
          <a:p>
            <a:pPr algn="ctr"/>
            <a:endParaRPr/>
          </a:p>
        </p:txBody>
      </p:sp>
      <p:sp>
        <p:nvSpPr>
          <p:cNvPr id="14" name="Rounded Rectangle 7">
            <a:extLst>
              <a:ext uri="{FF2B5EF4-FFF2-40B4-BE49-F238E27FC236}">
                <a16:creationId xmlns:a16="http://schemas.microsoft.com/office/drawing/2014/main" id="{0BEBA25F-CA1F-8FC9-5419-F84C199C92A4}"/>
              </a:ext>
            </a:extLst>
          </p:cNvPr>
          <p:cNvSpPr/>
          <p:nvPr/>
        </p:nvSpPr>
        <p:spPr>
          <a:xfrm>
            <a:off x="4801130" y="2846102"/>
            <a:ext cx="4681537" cy="9525"/>
          </a:xfrm>
          <a:custGeom>
            <a:avLst/>
            <a:gdLst/>
            <a:ahLst/>
            <a:cxnLst/>
            <a:rect l="0" t="0" r="0" b="0"/>
            <a:pathLst>
              <a:path w="4681537" h="9525">
                <a:moveTo>
                  <a:pt x="4681537" y="0"/>
                </a:moveTo>
                <a:lnTo>
                  <a:pt x="0" y="0"/>
                </a:lnTo>
              </a:path>
            </a:pathLst>
          </a:custGeom>
          <a:noFill/>
          <a:ln w="7143">
            <a:solidFill>
              <a:schemeClr val="accent1"/>
            </a:solidFill>
          </a:ln>
        </p:spPr>
        <p:txBody>
          <a:bodyPr rtlCol="0" anchor="ctr"/>
          <a:lstStyle/>
          <a:p>
            <a:pPr algn="ctr"/>
            <a:endParaRPr/>
          </a:p>
        </p:txBody>
      </p:sp>
      <p:sp>
        <p:nvSpPr>
          <p:cNvPr id="15" name="Rounded Rectangle 8">
            <a:extLst>
              <a:ext uri="{FF2B5EF4-FFF2-40B4-BE49-F238E27FC236}">
                <a16:creationId xmlns:a16="http://schemas.microsoft.com/office/drawing/2014/main" id="{005D6AB9-445F-566B-361C-57DE89CEA959}"/>
              </a:ext>
            </a:extLst>
          </p:cNvPr>
          <p:cNvSpPr/>
          <p:nvPr/>
        </p:nvSpPr>
        <p:spPr>
          <a:xfrm>
            <a:off x="9482667" y="2817526"/>
            <a:ext cx="57150" cy="57150"/>
          </a:xfrm>
          <a:custGeom>
            <a:avLst/>
            <a:gdLst/>
            <a:ahLst/>
            <a:cxnLst/>
            <a:rect l="0" t="0" r="0" b="0"/>
            <a:pathLst>
              <a:path w="57150" h="57150">
                <a:moveTo>
                  <a:pt x="28575" y="57150"/>
                </a:moveTo>
                <a:cubicBezTo>
                  <a:pt x="44345" y="57150"/>
                  <a:pt x="57150" y="44345"/>
                  <a:pt x="57150" y="28575"/>
                </a:cubicBezTo>
                <a:cubicBezTo>
                  <a:pt x="57150" y="12804"/>
                  <a:pt x="44345" y="0"/>
                  <a:pt x="28575" y="0"/>
                </a:cubicBezTo>
                <a:cubicBezTo>
                  <a:pt x="12804" y="0"/>
                  <a:pt x="0" y="12804"/>
                  <a:pt x="0" y="28575"/>
                </a:cubicBezTo>
                <a:cubicBezTo>
                  <a:pt x="0" y="44345"/>
                  <a:pt x="12804" y="57150"/>
                  <a:pt x="28575" y="57150"/>
                </a:cubicBezTo>
                <a:close/>
              </a:path>
            </a:pathLst>
          </a:custGeom>
          <a:noFill/>
          <a:ln w="7143">
            <a:solidFill>
              <a:srgbClr val="4F92FF"/>
            </a:solidFill>
          </a:ln>
        </p:spPr>
        <p:txBody>
          <a:bodyPr rtlCol="0" anchor="ctr"/>
          <a:lstStyle/>
          <a:p>
            <a:pPr algn="ctr"/>
            <a:endParaRPr/>
          </a:p>
        </p:txBody>
      </p:sp>
      <p:sp>
        <p:nvSpPr>
          <p:cNvPr id="16" name="Rounded Rectangle 9">
            <a:extLst>
              <a:ext uri="{FF2B5EF4-FFF2-40B4-BE49-F238E27FC236}">
                <a16:creationId xmlns:a16="http://schemas.microsoft.com/office/drawing/2014/main" id="{386AE392-1A92-EEAE-E68B-1F08C5FF5C27}"/>
              </a:ext>
            </a:extLst>
          </p:cNvPr>
          <p:cNvSpPr/>
          <p:nvPr/>
        </p:nvSpPr>
        <p:spPr>
          <a:xfrm>
            <a:off x="3367617" y="1245901"/>
            <a:ext cx="1143000" cy="1257300"/>
          </a:xfrm>
          <a:custGeom>
            <a:avLst/>
            <a:gdLst/>
            <a:ahLst/>
            <a:cxnLst/>
            <a:rect l="0" t="0" r="0" b="0"/>
            <a:pathLst>
              <a:path w="1143000" h="1257300">
                <a:moveTo>
                  <a:pt x="1143000" y="1028700"/>
                </a:moveTo>
                <a:lnTo>
                  <a:pt x="800100" y="1257300"/>
                </a:lnTo>
                <a:lnTo>
                  <a:pt x="342900" y="1257300"/>
                </a:lnTo>
                <a:lnTo>
                  <a:pt x="0" y="1028700"/>
                </a:lnTo>
                <a:lnTo>
                  <a:pt x="571500" y="0"/>
                </a:lnTo>
                <a:lnTo>
                  <a:pt x="1143000" y="1028700"/>
                </a:lnTo>
              </a:path>
            </a:pathLst>
          </a:custGeom>
          <a:solidFill>
            <a:schemeClr val="accent1"/>
          </a:solidFill>
          <a:ln>
            <a:noFill/>
          </a:ln>
        </p:spPr>
        <p:txBody>
          <a:bodyPr rtlCol="0" anchor="ctr"/>
          <a:lstStyle/>
          <a:p>
            <a:pPr algn="ctr"/>
            <a:endParaRPr/>
          </a:p>
        </p:txBody>
      </p:sp>
      <p:sp>
        <p:nvSpPr>
          <p:cNvPr id="17" name="Rounded Rectangle 10">
            <a:extLst>
              <a:ext uri="{FF2B5EF4-FFF2-40B4-BE49-F238E27FC236}">
                <a16:creationId xmlns:a16="http://schemas.microsoft.com/office/drawing/2014/main" id="{C6A13D0E-B3F2-9259-5EE6-4BEB0836086D}"/>
              </a:ext>
            </a:extLst>
          </p:cNvPr>
          <p:cNvSpPr/>
          <p:nvPr/>
        </p:nvSpPr>
        <p:spPr>
          <a:xfrm>
            <a:off x="3367617" y="1245901"/>
            <a:ext cx="1143000" cy="1257300"/>
          </a:xfrm>
          <a:custGeom>
            <a:avLst/>
            <a:gdLst/>
            <a:ahLst/>
            <a:cxnLst/>
            <a:rect l="0" t="0" r="0" b="0"/>
            <a:pathLst>
              <a:path w="1143000" h="1257300">
                <a:moveTo>
                  <a:pt x="0" y="1028700"/>
                </a:moveTo>
                <a:lnTo>
                  <a:pt x="571500" y="0"/>
                </a:lnTo>
                <a:lnTo>
                  <a:pt x="1143000" y="1028700"/>
                </a:lnTo>
                <a:lnTo>
                  <a:pt x="0" y="1028700"/>
                </a:lnTo>
                <a:close/>
                <a:moveTo>
                  <a:pt x="1143000" y="1028700"/>
                </a:moveTo>
                <a:lnTo>
                  <a:pt x="0" y="1028700"/>
                </a:lnTo>
                <a:lnTo>
                  <a:pt x="342900" y="1257300"/>
                </a:lnTo>
                <a:lnTo>
                  <a:pt x="800100" y="1257300"/>
                </a:lnTo>
                <a:lnTo>
                  <a:pt x="1143000" y="1028700"/>
                </a:lnTo>
                <a:close/>
              </a:path>
            </a:pathLst>
          </a:custGeom>
          <a:noFill/>
          <a:ln w="7143">
            <a:solidFill>
              <a:srgbClr val="FFFFFF"/>
            </a:solidFill>
          </a:ln>
        </p:spPr>
        <p:txBody>
          <a:bodyPr rtlCol="0" anchor="ctr"/>
          <a:lstStyle/>
          <a:p>
            <a:pPr algn="ctr"/>
            <a:endParaRPr/>
          </a:p>
        </p:txBody>
      </p:sp>
      <p:sp>
        <p:nvSpPr>
          <p:cNvPr id="18" name="Rounded Rectangle 11">
            <a:extLst>
              <a:ext uri="{FF2B5EF4-FFF2-40B4-BE49-F238E27FC236}">
                <a16:creationId xmlns:a16="http://schemas.microsoft.com/office/drawing/2014/main" id="{2605D646-0A5C-80C1-68DE-3ED299C66393}"/>
              </a:ext>
            </a:extLst>
          </p:cNvPr>
          <p:cNvSpPr/>
          <p:nvPr/>
        </p:nvSpPr>
        <p:spPr>
          <a:xfrm>
            <a:off x="4196293" y="1703102"/>
            <a:ext cx="5286375" cy="9525"/>
          </a:xfrm>
          <a:custGeom>
            <a:avLst/>
            <a:gdLst/>
            <a:ahLst/>
            <a:cxnLst/>
            <a:rect l="0" t="0" r="0" b="0"/>
            <a:pathLst>
              <a:path w="5286375" h="9525">
                <a:moveTo>
                  <a:pt x="5286375" y="0"/>
                </a:moveTo>
                <a:lnTo>
                  <a:pt x="0" y="0"/>
                </a:lnTo>
              </a:path>
            </a:pathLst>
          </a:custGeom>
          <a:noFill/>
          <a:ln w="7143">
            <a:solidFill>
              <a:schemeClr val="accent1"/>
            </a:solidFill>
          </a:ln>
        </p:spPr>
        <p:txBody>
          <a:bodyPr rtlCol="0" anchor="ctr"/>
          <a:lstStyle/>
          <a:p>
            <a:pPr algn="ctr"/>
            <a:endParaRPr/>
          </a:p>
        </p:txBody>
      </p:sp>
      <p:sp>
        <p:nvSpPr>
          <p:cNvPr id="19" name="Rounded Rectangle 12">
            <a:extLst>
              <a:ext uri="{FF2B5EF4-FFF2-40B4-BE49-F238E27FC236}">
                <a16:creationId xmlns:a16="http://schemas.microsoft.com/office/drawing/2014/main" id="{89873A0C-080A-1C87-C38D-56B073662548}"/>
              </a:ext>
            </a:extLst>
          </p:cNvPr>
          <p:cNvSpPr/>
          <p:nvPr/>
        </p:nvSpPr>
        <p:spPr>
          <a:xfrm>
            <a:off x="9482667" y="1674526"/>
            <a:ext cx="57150" cy="57150"/>
          </a:xfrm>
          <a:custGeom>
            <a:avLst/>
            <a:gdLst/>
            <a:ahLst/>
            <a:cxnLst/>
            <a:rect l="0" t="0" r="0" b="0"/>
            <a:pathLst>
              <a:path w="57150" h="57150">
                <a:moveTo>
                  <a:pt x="28575" y="57150"/>
                </a:moveTo>
                <a:cubicBezTo>
                  <a:pt x="44345" y="57150"/>
                  <a:pt x="57150" y="44345"/>
                  <a:pt x="57150" y="28575"/>
                </a:cubicBezTo>
                <a:cubicBezTo>
                  <a:pt x="57150" y="12804"/>
                  <a:pt x="44345" y="0"/>
                  <a:pt x="28575" y="0"/>
                </a:cubicBezTo>
                <a:cubicBezTo>
                  <a:pt x="12804" y="0"/>
                  <a:pt x="0" y="12804"/>
                  <a:pt x="0" y="28575"/>
                </a:cubicBezTo>
                <a:cubicBezTo>
                  <a:pt x="0" y="44345"/>
                  <a:pt x="12804" y="57150"/>
                  <a:pt x="28575" y="57150"/>
                </a:cubicBezTo>
                <a:close/>
              </a:path>
            </a:pathLst>
          </a:custGeom>
          <a:noFill/>
          <a:ln w="7143">
            <a:solidFill>
              <a:srgbClr val="4F92FF"/>
            </a:solidFill>
          </a:ln>
        </p:spPr>
        <p:txBody>
          <a:bodyPr rtlCol="0" anchor="ctr"/>
          <a:lstStyle/>
          <a:p>
            <a:pPr algn="ctr"/>
            <a:endParaRPr/>
          </a:p>
        </p:txBody>
      </p:sp>
      <p:sp>
        <p:nvSpPr>
          <p:cNvPr id="20" name="TextBox 19">
            <a:extLst>
              <a:ext uri="{FF2B5EF4-FFF2-40B4-BE49-F238E27FC236}">
                <a16:creationId xmlns:a16="http://schemas.microsoft.com/office/drawing/2014/main" id="{62FA258D-2690-1303-7701-1357DED185FE}"/>
              </a:ext>
            </a:extLst>
          </p:cNvPr>
          <p:cNvSpPr txBox="1"/>
          <p:nvPr/>
        </p:nvSpPr>
        <p:spPr>
          <a:xfrm>
            <a:off x="7611600" y="1379251"/>
            <a:ext cx="1909177" cy="230832"/>
          </a:xfrm>
          <a:prstGeom prst="rect">
            <a:avLst/>
          </a:prstGeom>
          <a:noFill/>
          <a:ln>
            <a:noFill/>
          </a:ln>
        </p:spPr>
        <p:txBody>
          <a:bodyPr wrap="none" lIns="0" tIns="0" rIns="0" bIns="0" anchor="t">
            <a:spAutoFit/>
          </a:bodyPr>
          <a:lstStyle/>
          <a:p>
            <a:pPr algn="r"/>
            <a:r>
              <a:rPr sz="1500" b="1" dirty="0">
                <a:solidFill>
                  <a:schemeClr val="accent1"/>
                </a:solidFill>
              </a:rPr>
              <a:t>Common Framework</a:t>
            </a:r>
          </a:p>
        </p:txBody>
      </p:sp>
      <p:sp>
        <p:nvSpPr>
          <p:cNvPr id="21" name="TextBox 20">
            <a:extLst>
              <a:ext uri="{FF2B5EF4-FFF2-40B4-BE49-F238E27FC236}">
                <a16:creationId xmlns:a16="http://schemas.microsoft.com/office/drawing/2014/main" id="{1DF2003C-1373-0CBD-40B3-89A191194764}"/>
              </a:ext>
            </a:extLst>
          </p:cNvPr>
          <p:cNvSpPr txBox="1"/>
          <p:nvPr/>
        </p:nvSpPr>
        <p:spPr>
          <a:xfrm>
            <a:off x="6095999" y="1831687"/>
            <a:ext cx="3424785" cy="338554"/>
          </a:xfrm>
          <a:prstGeom prst="rect">
            <a:avLst/>
          </a:prstGeom>
          <a:noFill/>
          <a:ln>
            <a:noFill/>
          </a:ln>
        </p:spPr>
        <p:txBody>
          <a:bodyPr wrap="square" lIns="0" tIns="0" rIns="0" bIns="0" anchor="t">
            <a:spAutoFit/>
          </a:bodyPr>
          <a:lstStyle/>
          <a:p>
            <a:pPr algn="r"/>
            <a:r>
              <a:rPr lang="en-US" sz="1100" dirty="0"/>
              <a:t>Flexible, extensible grammar, shared taxonomy definitions, interoperability for all bilateral links</a:t>
            </a:r>
            <a:endParaRPr sz="1100" dirty="0"/>
          </a:p>
        </p:txBody>
      </p:sp>
      <p:sp>
        <p:nvSpPr>
          <p:cNvPr id="22" name="TextBox 21">
            <a:extLst>
              <a:ext uri="{FF2B5EF4-FFF2-40B4-BE49-F238E27FC236}">
                <a16:creationId xmlns:a16="http://schemas.microsoft.com/office/drawing/2014/main" id="{63063FD3-82BC-27DE-8F4D-3910EDDB37CB}"/>
              </a:ext>
            </a:extLst>
          </p:cNvPr>
          <p:cNvSpPr txBox="1"/>
          <p:nvPr/>
        </p:nvSpPr>
        <p:spPr>
          <a:xfrm>
            <a:off x="7842450" y="2522251"/>
            <a:ext cx="1678345" cy="230832"/>
          </a:xfrm>
          <a:prstGeom prst="rect">
            <a:avLst/>
          </a:prstGeom>
          <a:noFill/>
          <a:ln>
            <a:noFill/>
          </a:ln>
        </p:spPr>
        <p:txBody>
          <a:bodyPr wrap="none" lIns="0" tIns="0" rIns="0" bIns="0" anchor="t">
            <a:spAutoFit/>
          </a:bodyPr>
          <a:lstStyle/>
          <a:p>
            <a:pPr algn="r"/>
            <a:r>
              <a:rPr sz="1500" b="1" dirty="0">
                <a:solidFill>
                  <a:schemeClr val="accent1"/>
                </a:solidFill>
              </a:rPr>
              <a:t>Product Exchange</a:t>
            </a:r>
          </a:p>
        </p:txBody>
      </p:sp>
      <p:sp>
        <p:nvSpPr>
          <p:cNvPr id="23" name="TextBox 22">
            <a:extLst>
              <a:ext uri="{FF2B5EF4-FFF2-40B4-BE49-F238E27FC236}">
                <a16:creationId xmlns:a16="http://schemas.microsoft.com/office/drawing/2014/main" id="{58A96984-5D18-4D21-E8DF-9D2ADD87B5C1}"/>
              </a:ext>
            </a:extLst>
          </p:cNvPr>
          <p:cNvSpPr txBox="1"/>
          <p:nvPr/>
        </p:nvSpPr>
        <p:spPr>
          <a:xfrm>
            <a:off x="6189133" y="2974688"/>
            <a:ext cx="3331622" cy="338554"/>
          </a:xfrm>
          <a:prstGeom prst="rect">
            <a:avLst/>
          </a:prstGeom>
          <a:noFill/>
          <a:ln>
            <a:noFill/>
          </a:ln>
        </p:spPr>
        <p:txBody>
          <a:bodyPr wrap="square" lIns="0" tIns="0" rIns="0" bIns="0" anchor="t">
            <a:spAutoFit/>
          </a:bodyPr>
          <a:lstStyle/>
          <a:p>
            <a:pPr algn="r"/>
            <a:r>
              <a:rPr lang="en-US" sz="1100" dirty="0"/>
              <a:t>Product attributes, Alignment on taxonomy &amp; language, Data representation (schema) </a:t>
            </a:r>
            <a:endParaRPr sz="1100" dirty="0"/>
          </a:p>
        </p:txBody>
      </p:sp>
      <p:sp>
        <p:nvSpPr>
          <p:cNvPr id="24" name="TextBox 23">
            <a:extLst>
              <a:ext uri="{FF2B5EF4-FFF2-40B4-BE49-F238E27FC236}">
                <a16:creationId xmlns:a16="http://schemas.microsoft.com/office/drawing/2014/main" id="{A3F00645-4193-DDD5-C6A4-D1F72D66C7D3}"/>
              </a:ext>
            </a:extLst>
          </p:cNvPr>
          <p:cNvSpPr txBox="1"/>
          <p:nvPr/>
        </p:nvSpPr>
        <p:spPr>
          <a:xfrm>
            <a:off x="7686950" y="3665251"/>
            <a:ext cx="1833836" cy="230832"/>
          </a:xfrm>
          <a:prstGeom prst="rect">
            <a:avLst/>
          </a:prstGeom>
          <a:noFill/>
          <a:ln>
            <a:noFill/>
          </a:ln>
        </p:spPr>
        <p:txBody>
          <a:bodyPr wrap="none" lIns="0" tIns="0" rIns="0" bIns="0" anchor="t">
            <a:spAutoFit/>
          </a:bodyPr>
          <a:lstStyle/>
          <a:p>
            <a:pPr algn="r"/>
            <a:r>
              <a:rPr sz="1500" b="1">
                <a:solidFill>
                  <a:schemeClr val="accent1"/>
                </a:solidFill>
              </a:rPr>
              <a:t>Bilateral Agreement</a:t>
            </a:r>
          </a:p>
        </p:txBody>
      </p:sp>
      <p:sp>
        <p:nvSpPr>
          <p:cNvPr id="25" name="TextBox 24">
            <a:extLst>
              <a:ext uri="{FF2B5EF4-FFF2-40B4-BE49-F238E27FC236}">
                <a16:creationId xmlns:a16="http://schemas.microsoft.com/office/drawing/2014/main" id="{0204E9C0-9FE4-0362-95E3-922DE3E1E581}"/>
              </a:ext>
            </a:extLst>
          </p:cNvPr>
          <p:cNvSpPr txBox="1"/>
          <p:nvPr/>
        </p:nvSpPr>
        <p:spPr>
          <a:xfrm>
            <a:off x="6527800" y="4146264"/>
            <a:ext cx="2992976" cy="338554"/>
          </a:xfrm>
          <a:prstGeom prst="rect">
            <a:avLst/>
          </a:prstGeom>
          <a:noFill/>
          <a:ln>
            <a:noFill/>
          </a:ln>
        </p:spPr>
        <p:txBody>
          <a:bodyPr wrap="square" lIns="0" tIns="0" rIns="0" bIns="0" anchor="t">
            <a:spAutoFit/>
          </a:bodyPr>
          <a:lstStyle/>
          <a:p>
            <a:pPr algn="r"/>
            <a:r>
              <a:rPr lang="en-US" sz="1100" dirty="0"/>
              <a:t>Between Retailer and Supplier; </a:t>
            </a:r>
            <a:br>
              <a:rPr lang="en-US" sz="1100" dirty="0"/>
            </a:br>
            <a:r>
              <a:rPr lang="en-US" sz="1100" dirty="0"/>
              <a:t>defines exchange scope, rules, permissions</a:t>
            </a:r>
            <a:endParaRPr sz="1100" dirty="0"/>
          </a:p>
        </p:txBody>
      </p:sp>
      <p:sp>
        <p:nvSpPr>
          <p:cNvPr id="26" name="Rounded Rectangle 20">
            <a:extLst>
              <a:ext uri="{FF2B5EF4-FFF2-40B4-BE49-F238E27FC236}">
                <a16:creationId xmlns:a16="http://schemas.microsoft.com/office/drawing/2014/main" id="{685DC54E-DE79-D299-2E80-4C356DC6D99B}"/>
              </a:ext>
            </a:extLst>
          </p:cNvPr>
          <p:cNvSpPr/>
          <p:nvPr/>
        </p:nvSpPr>
        <p:spPr>
          <a:xfrm>
            <a:off x="3811512" y="1757869"/>
            <a:ext cx="264724" cy="328612"/>
          </a:xfrm>
          <a:custGeom>
            <a:avLst/>
            <a:gdLst/>
            <a:ahLst/>
            <a:cxnLst/>
            <a:rect l="0" t="0" r="0" b="0"/>
            <a:pathLst>
              <a:path w="264724" h="328612">
                <a:moveTo>
                  <a:pt x="263815" y="15787"/>
                </a:moveTo>
                <a:lnTo>
                  <a:pt x="263815" y="112099"/>
                </a:lnTo>
                <a:moveTo>
                  <a:pt x="152957" y="0"/>
                </a:moveTo>
                <a:lnTo>
                  <a:pt x="252962" y="0"/>
                </a:lnTo>
                <a:cubicBezTo>
                  <a:pt x="252962" y="0"/>
                  <a:pt x="264724" y="0"/>
                  <a:pt x="264724" y="14601"/>
                </a:cubicBezTo>
                <a:lnTo>
                  <a:pt x="264724" y="131444"/>
                </a:lnTo>
                <a:cubicBezTo>
                  <a:pt x="264724" y="131444"/>
                  <a:pt x="264724" y="146046"/>
                  <a:pt x="252962" y="146046"/>
                </a:cubicBezTo>
                <a:lnTo>
                  <a:pt x="152957" y="146046"/>
                </a:lnTo>
                <a:cubicBezTo>
                  <a:pt x="152957" y="146046"/>
                  <a:pt x="141194" y="146046"/>
                  <a:pt x="141194" y="131444"/>
                </a:cubicBezTo>
                <a:lnTo>
                  <a:pt x="141194" y="14601"/>
                </a:lnTo>
                <a:cubicBezTo>
                  <a:pt x="141194" y="14601"/>
                  <a:pt x="141194" y="0"/>
                  <a:pt x="152957" y="0"/>
                </a:cubicBezTo>
                <a:moveTo>
                  <a:pt x="141194" y="49734"/>
                </a:moveTo>
                <a:lnTo>
                  <a:pt x="264724" y="49734"/>
                </a:lnTo>
                <a:moveTo>
                  <a:pt x="141194" y="97897"/>
                </a:moveTo>
                <a:lnTo>
                  <a:pt x="264724" y="97897"/>
                </a:lnTo>
                <a:moveTo>
                  <a:pt x="197061" y="49734"/>
                </a:moveTo>
                <a:lnTo>
                  <a:pt x="197061" y="146046"/>
                </a:lnTo>
                <a:moveTo>
                  <a:pt x="9" y="195995"/>
                </a:moveTo>
                <a:cubicBezTo>
                  <a:pt x="40" y="187957"/>
                  <a:pt x="5295" y="181459"/>
                  <a:pt x="11771" y="181451"/>
                </a:cubicBezTo>
                <a:lnTo>
                  <a:pt x="129420" y="181451"/>
                </a:lnTo>
                <a:cubicBezTo>
                  <a:pt x="135918" y="181451"/>
                  <a:pt x="141188" y="187986"/>
                  <a:pt x="141194" y="196053"/>
                </a:cubicBezTo>
                <a:lnTo>
                  <a:pt x="141194" y="272005"/>
                </a:lnTo>
                <a:cubicBezTo>
                  <a:pt x="141188" y="280072"/>
                  <a:pt x="135918" y="286607"/>
                  <a:pt x="129420" y="286607"/>
                </a:cubicBezTo>
                <a:lnTo>
                  <a:pt x="11771" y="286607"/>
                </a:lnTo>
                <a:cubicBezTo>
                  <a:pt x="8645" y="286603"/>
                  <a:pt x="5648" y="285055"/>
                  <a:pt x="3441" y="282306"/>
                </a:cubicBezTo>
                <a:cubicBezTo>
                  <a:pt x="1234" y="279556"/>
                  <a:pt x="0" y="275829"/>
                  <a:pt x="9" y="271948"/>
                </a:cubicBezTo>
                <a:close/>
                <a:moveTo>
                  <a:pt x="57556" y="286550"/>
                </a:moveTo>
                <a:lnTo>
                  <a:pt x="48348" y="328612"/>
                </a:lnTo>
                <a:moveTo>
                  <a:pt x="83693" y="286550"/>
                </a:moveTo>
                <a:lnTo>
                  <a:pt x="92809" y="328612"/>
                </a:lnTo>
                <a:moveTo>
                  <a:pt x="35308" y="328612"/>
                </a:moveTo>
                <a:lnTo>
                  <a:pt x="105895" y="328612"/>
                </a:lnTo>
                <a:moveTo>
                  <a:pt x="52952" y="97269"/>
                </a:moveTo>
                <a:lnTo>
                  <a:pt x="26480" y="128801"/>
                </a:lnTo>
                <a:lnTo>
                  <a:pt x="26480" y="97269"/>
                </a:lnTo>
                <a:cubicBezTo>
                  <a:pt x="26877" y="73556"/>
                  <a:pt x="42677" y="54728"/>
                  <a:pt x="61779" y="55206"/>
                </a:cubicBezTo>
                <a:lnTo>
                  <a:pt x="105895" y="55206"/>
                </a:lnTo>
                <a:moveTo>
                  <a:pt x="9" y="97269"/>
                </a:moveTo>
                <a:lnTo>
                  <a:pt x="26480" y="128816"/>
                </a:lnTo>
                <a:moveTo>
                  <a:pt x="79423" y="23660"/>
                </a:moveTo>
                <a:lnTo>
                  <a:pt x="105895" y="55206"/>
                </a:lnTo>
                <a:lnTo>
                  <a:pt x="79423" y="86753"/>
                </a:lnTo>
              </a:path>
            </a:pathLst>
          </a:custGeom>
          <a:noFill/>
          <a:ln w="7143">
            <a:solidFill>
              <a:srgbClr val="FFFFFF"/>
            </a:solidFill>
          </a:ln>
        </p:spPr>
        <p:txBody>
          <a:bodyPr rtlCol="0" anchor="ctr"/>
          <a:lstStyle/>
          <a:p>
            <a:pPr algn="ctr"/>
            <a:endParaRPr/>
          </a:p>
        </p:txBody>
      </p:sp>
      <p:sp>
        <p:nvSpPr>
          <p:cNvPr id="27" name="Rounded Rectangle 21">
            <a:extLst>
              <a:ext uri="{FF2B5EF4-FFF2-40B4-BE49-F238E27FC236}">
                <a16:creationId xmlns:a16="http://schemas.microsoft.com/office/drawing/2014/main" id="{02D86EAD-AA09-A3B8-DC3F-C9CE415B3CC1}"/>
              </a:ext>
            </a:extLst>
          </p:cNvPr>
          <p:cNvSpPr/>
          <p:nvPr/>
        </p:nvSpPr>
        <p:spPr>
          <a:xfrm>
            <a:off x="3752575" y="2851814"/>
            <a:ext cx="258960" cy="321468"/>
          </a:xfrm>
          <a:custGeom>
            <a:avLst/>
            <a:gdLst/>
            <a:ahLst/>
            <a:cxnLst/>
            <a:rect l="0" t="0" r="0" b="0"/>
            <a:pathLst>
              <a:path w="258960" h="321468">
                <a:moveTo>
                  <a:pt x="235942" y="0"/>
                </a:moveTo>
                <a:cubicBezTo>
                  <a:pt x="248602" y="0"/>
                  <a:pt x="258960" y="12858"/>
                  <a:pt x="258960" y="28575"/>
                </a:cubicBezTo>
                <a:lnTo>
                  <a:pt x="258960" y="85725"/>
                </a:lnTo>
                <a:lnTo>
                  <a:pt x="0" y="85725"/>
                </a:lnTo>
                <a:lnTo>
                  <a:pt x="0" y="28575"/>
                </a:lnTo>
                <a:cubicBezTo>
                  <a:pt x="0" y="12858"/>
                  <a:pt x="10358" y="0"/>
                  <a:pt x="23018" y="0"/>
                </a:cubicBezTo>
                <a:close/>
                <a:moveTo>
                  <a:pt x="86320" y="85725"/>
                </a:moveTo>
                <a:lnTo>
                  <a:pt x="86320" y="254317"/>
                </a:lnTo>
                <a:lnTo>
                  <a:pt x="23018" y="254317"/>
                </a:lnTo>
                <a:cubicBezTo>
                  <a:pt x="10358" y="254317"/>
                  <a:pt x="0" y="241458"/>
                  <a:pt x="0" y="225742"/>
                </a:cubicBezTo>
                <a:lnTo>
                  <a:pt x="0" y="85725"/>
                </a:lnTo>
                <a:close/>
                <a:moveTo>
                  <a:pt x="0" y="171450"/>
                </a:moveTo>
                <a:lnTo>
                  <a:pt x="86320" y="171450"/>
                </a:lnTo>
                <a:moveTo>
                  <a:pt x="115093" y="254317"/>
                </a:moveTo>
                <a:lnTo>
                  <a:pt x="86320" y="254317"/>
                </a:lnTo>
                <a:moveTo>
                  <a:pt x="86320" y="171450"/>
                </a:moveTo>
                <a:lnTo>
                  <a:pt x="115093" y="171450"/>
                </a:lnTo>
                <a:moveTo>
                  <a:pt x="172640" y="85725"/>
                </a:moveTo>
                <a:lnTo>
                  <a:pt x="258960" y="85725"/>
                </a:lnTo>
                <a:lnTo>
                  <a:pt x="258960" y="114300"/>
                </a:lnTo>
                <a:moveTo>
                  <a:pt x="207168" y="192881"/>
                </a:moveTo>
                <a:cubicBezTo>
                  <a:pt x="235773" y="192881"/>
                  <a:pt x="258960" y="183285"/>
                  <a:pt x="258960" y="171450"/>
                </a:cubicBezTo>
                <a:cubicBezTo>
                  <a:pt x="258960" y="159614"/>
                  <a:pt x="235773" y="150018"/>
                  <a:pt x="207168" y="150018"/>
                </a:cubicBezTo>
                <a:cubicBezTo>
                  <a:pt x="178564" y="150018"/>
                  <a:pt x="155376" y="159614"/>
                  <a:pt x="155376" y="171450"/>
                </a:cubicBezTo>
                <a:cubicBezTo>
                  <a:pt x="155376" y="183285"/>
                  <a:pt x="178564" y="192881"/>
                  <a:pt x="207168" y="192881"/>
                </a:cubicBezTo>
                <a:close/>
                <a:moveTo>
                  <a:pt x="258960" y="171450"/>
                </a:moveTo>
                <a:lnTo>
                  <a:pt x="258960" y="235743"/>
                </a:lnTo>
                <a:cubicBezTo>
                  <a:pt x="258960" y="247173"/>
                  <a:pt x="235942" y="257175"/>
                  <a:pt x="207168" y="257175"/>
                </a:cubicBezTo>
                <a:cubicBezTo>
                  <a:pt x="178395" y="257175"/>
                  <a:pt x="155376" y="247173"/>
                  <a:pt x="155376" y="235743"/>
                </a:cubicBezTo>
                <a:lnTo>
                  <a:pt x="155376" y="171450"/>
                </a:lnTo>
                <a:moveTo>
                  <a:pt x="258960" y="235743"/>
                </a:moveTo>
                <a:lnTo>
                  <a:pt x="258960" y="300037"/>
                </a:lnTo>
                <a:cubicBezTo>
                  <a:pt x="258960" y="311467"/>
                  <a:pt x="235942" y="321468"/>
                  <a:pt x="207168" y="321468"/>
                </a:cubicBezTo>
                <a:cubicBezTo>
                  <a:pt x="178395" y="321468"/>
                  <a:pt x="155376" y="311467"/>
                  <a:pt x="155376" y="300037"/>
                </a:cubicBezTo>
                <a:lnTo>
                  <a:pt x="155376" y="235743"/>
                </a:lnTo>
                <a:moveTo>
                  <a:pt x="172640" y="110221"/>
                </a:moveTo>
                <a:lnTo>
                  <a:pt x="172640" y="85725"/>
                </a:lnTo>
              </a:path>
            </a:pathLst>
          </a:custGeom>
          <a:noFill/>
          <a:ln w="7143">
            <a:solidFill>
              <a:srgbClr val="FFFFFF"/>
            </a:solidFill>
          </a:ln>
        </p:spPr>
        <p:txBody>
          <a:bodyPr rtlCol="0" anchor="ctr"/>
          <a:lstStyle/>
          <a:p>
            <a:pPr algn="ctr"/>
            <a:endParaRPr/>
          </a:p>
        </p:txBody>
      </p:sp>
      <p:sp>
        <p:nvSpPr>
          <p:cNvPr id="28" name="Rounded Rectangle 22">
            <a:extLst>
              <a:ext uri="{FF2B5EF4-FFF2-40B4-BE49-F238E27FC236}">
                <a16:creationId xmlns:a16="http://schemas.microsoft.com/office/drawing/2014/main" id="{FA62CA6B-E53F-E1AA-A68E-F089C0C13CA6}"/>
              </a:ext>
            </a:extLst>
          </p:cNvPr>
          <p:cNvSpPr/>
          <p:nvPr/>
        </p:nvSpPr>
        <p:spPr>
          <a:xfrm>
            <a:off x="3690751" y="3998627"/>
            <a:ext cx="382608" cy="384657"/>
          </a:xfrm>
          <a:custGeom>
            <a:avLst/>
            <a:gdLst/>
            <a:ahLst/>
            <a:cxnLst/>
            <a:rect l="0" t="0" r="0" b="0"/>
            <a:pathLst>
              <a:path w="260388" h="326186">
                <a:moveTo>
                  <a:pt x="54853" y="120040"/>
                </a:moveTo>
                <a:cubicBezTo>
                  <a:pt x="48130" y="84401"/>
                  <a:pt x="58926" y="47187"/>
                  <a:pt x="82409" y="25051"/>
                </a:cubicBezTo>
                <a:cubicBezTo>
                  <a:pt x="105893" y="2915"/>
                  <a:pt x="137669" y="0"/>
                  <a:pt x="163518" y="17610"/>
                </a:cubicBezTo>
                <a:cubicBezTo>
                  <a:pt x="189368" y="35220"/>
                  <a:pt x="204453" y="70059"/>
                  <a:pt x="202024" y="106539"/>
                </a:cubicBezTo>
                <a:moveTo>
                  <a:pt x="101098" y="120026"/>
                </a:moveTo>
                <a:cubicBezTo>
                  <a:pt x="98209" y="117169"/>
                  <a:pt x="95585" y="114011"/>
                  <a:pt x="95585" y="110353"/>
                </a:cubicBezTo>
                <a:lnTo>
                  <a:pt x="95585" y="85679"/>
                </a:lnTo>
                <a:cubicBezTo>
                  <a:pt x="94724" y="71516"/>
                  <a:pt x="85656" y="60258"/>
                  <a:pt x="74246" y="59190"/>
                </a:cubicBezTo>
                <a:lnTo>
                  <a:pt x="60101" y="59190"/>
                </a:lnTo>
                <a:moveTo>
                  <a:pt x="180167" y="98923"/>
                </a:moveTo>
                <a:lnTo>
                  <a:pt x="171984" y="88779"/>
                </a:lnTo>
                <a:cubicBezTo>
                  <a:pt x="168662" y="84649"/>
                  <a:pt x="164152" y="82330"/>
                  <a:pt x="159450" y="82336"/>
                </a:cubicBezTo>
                <a:lnTo>
                  <a:pt x="149092" y="82336"/>
                </a:lnTo>
                <a:cubicBezTo>
                  <a:pt x="143514" y="82331"/>
                  <a:pt x="138262" y="79071"/>
                  <a:pt x="134912" y="73535"/>
                </a:cubicBezTo>
                <a:lnTo>
                  <a:pt x="124197" y="55789"/>
                </a:lnTo>
                <a:cubicBezTo>
                  <a:pt x="118377" y="46157"/>
                  <a:pt x="119874" y="32506"/>
                  <a:pt x="127558" y="25157"/>
                </a:cubicBezTo>
                <a:cubicBezTo>
                  <a:pt x="132116" y="20799"/>
                  <a:pt x="144569" y="8626"/>
                  <a:pt x="144569" y="8626"/>
                </a:cubicBezTo>
                <a:moveTo>
                  <a:pt x="226124" y="267187"/>
                </a:moveTo>
                <a:lnTo>
                  <a:pt x="168669" y="273131"/>
                </a:lnTo>
                <a:moveTo>
                  <a:pt x="158150" y="182977"/>
                </a:moveTo>
                <a:lnTo>
                  <a:pt x="118017" y="199450"/>
                </a:lnTo>
                <a:cubicBezTo>
                  <a:pt x="111585" y="202074"/>
                  <a:pt x="104590" y="198295"/>
                  <a:pt x="101754" y="190663"/>
                </a:cubicBezTo>
                <a:cubicBezTo>
                  <a:pt x="98691" y="182487"/>
                  <a:pt x="101399" y="172769"/>
                  <a:pt x="107877" y="168689"/>
                </a:cubicBezTo>
                <a:lnTo>
                  <a:pt x="146756" y="144401"/>
                </a:lnTo>
                <a:cubicBezTo>
                  <a:pt x="153453" y="140212"/>
                  <a:pt x="161249" y="139653"/>
                  <a:pt x="168290" y="142857"/>
                </a:cubicBezTo>
                <a:lnTo>
                  <a:pt x="225836" y="168989"/>
                </a:lnTo>
                <a:moveTo>
                  <a:pt x="113804" y="164989"/>
                </a:moveTo>
                <a:lnTo>
                  <a:pt x="109661" y="160703"/>
                </a:lnTo>
                <a:cubicBezTo>
                  <a:pt x="102884" y="154538"/>
                  <a:pt x="94023" y="153155"/>
                  <a:pt x="86228" y="157045"/>
                </a:cubicBezTo>
                <a:lnTo>
                  <a:pt x="34723" y="182620"/>
                </a:lnTo>
                <a:moveTo>
                  <a:pt x="0" y="158159"/>
                </a:moveTo>
                <a:lnTo>
                  <a:pt x="23156" y="158159"/>
                </a:lnTo>
                <a:cubicBezTo>
                  <a:pt x="29277" y="157837"/>
                  <a:pt x="34455" y="163721"/>
                  <a:pt x="34735" y="171318"/>
                </a:cubicBezTo>
                <a:lnTo>
                  <a:pt x="34735" y="263501"/>
                </a:lnTo>
                <a:cubicBezTo>
                  <a:pt x="34455" y="271100"/>
                  <a:pt x="29279" y="276989"/>
                  <a:pt x="23156" y="276674"/>
                </a:cubicBezTo>
                <a:lnTo>
                  <a:pt x="0" y="276674"/>
                </a:lnTo>
                <a:moveTo>
                  <a:pt x="260388" y="276674"/>
                </a:moveTo>
                <a:lnTo>
                  <a:pt x="237231" y="276674"/>
                </a:lnTo>
                <a:cubicBezTo>
                  <a:pt x="231108" y="276989"/>
                  <a:pt x="225932" y="271100"/>
                  <a:pt x="225652" y="263501"/>
                </a:cubicBezTo>
                <a:lnTo>
                  <a:pt x="225652" y="171332"/>
                </a:lnTo>
                <a:cubicBezTo>
                  <a:pt x="225932" y="163735"/>
                  <a:pt x="231110" y="157851"/>
                  <a:pt x="237231" y="158174"/>
                </a:cubicBezTo>
                <a:lnTo>
                  <a:pt x="260376" y="158174"/>
                </a:lnTo>
                <a:moveTo>
                  <a:pt x="142255" y="194192"/>
                </a:moveTo>
                <a:lnTo>
                  <a:pt x="172180" y="245185"/>
                </a:lnTo>
                <a:cubicBezTo>
                  <a:pt x="175955" y="251620"/>
                  <a:pt x="176297" y="260222"/>
                  <a:pt x="173049" y="267088"/>
                </a:cubicBezTo>
                <a:cubicBezTo>
                  <a:pt x="169802" y="273953"/>
                  <a:pt x="163584" y="277774"/>
                  <a:pt x="157218" y="276817"/>
                </a:cubicBezTo>
                <a:cubicBezTo>
                  <a:pt x="155664" y="287124"/>
                  <a:pt x="147907" y="294140"/>
                  <a:pt x="139528" y="292819"/>
                </a:cubicBezTo>
                <a:cubicBezTo>
                  <a:pt x="137969" y="303123"/>
                  <a:pt x="130218" y="310141"/>
                  <a:pt x="121838" y="308835"/>
                </a:cubicBezTo>
                <a:cubicBezTo>
                  <a:pt x="120594" y="316606"/>
                  <a:pt x="115773" y="322734"/>
                  <a:pt x="109544" y="324460"/>
                </a:cubicBezTo>
                <a:cubicBezTo>
                  <a:pt x="103314" y="326186"/>
                  <a:pt x="96852" y="323185"/>
                  <a:pt x="93064" y="316808"/>
                </a:cubicBezTo>
                <a:lnTo>
                  <a:pt x="62875" y="269716"/>
                </a:lnTo>
                <a:cubicBezTo>
                  <a:pt x="58410" y="262674"/>
                  <a:pt x="51675" y="258426"/>
                  <a:pt x="44460" y="258100"/>
                </a:cubicBezTo>
                <a:lnTo>
                  <a:pt x="34723" y="257672"/>
                </a:lnTo>
                <a:moveTo>
                  <a:pt x="113804" y="296491"/>
                </a:moveTo>
                <a:lnTo>
                  <a:pt x="121884" y="308807"/>
                </a:lnTo>
                <a:moveTo>
                  <a:pt x="132657" y="281389"/>
                </a:moveTo>
                <a:lnTo>
                  <a:pt x="139574" y="292790"/>
                </a:lnTo>
                <a:moveTo>
                  <a:pt x="149702" y="264030"/>
                </a:moveTo>
                <a:lnTo>
                  <a:pt x="157264" y="276788"/>
                </a:lnTo>
              </a:path>
            </a:pathLst>
          </a:custGeom>
          <a:noFill/>
          <a:ln w="7143">
            <a:solidFill>
              <a:srgbClr val="FFFFFF"/>
            </a:solidFill>
          </a:ln>
        </p:spPr>
        <p:txBody>
          <a:bodyPr rtlCol="0" anchor="ctr"/>
          <a:lstStyle/>
          <a:p>
            <a:pPr algn="ctr"/>
            <a:endParaRPr/>
          </a:p>
        </p:txBody>
      </p:sp>
      <p:sp>
        <p:nvSpPr>
          <p:cNvPr id="30" name="TextBox 29">
            <a:extLst>
              <a:ext uri="{FF2B5EF4-FFF2-40B4-BE49-F238E27FC236}">
                <a16:creationId xmlns:a16="http://schemas.microsoft.com/office/drawing/2014/main" id="{47DF67E7-4C09-9A15-BE60-FB8DB91C08C8}"/>
              </a:ext>
            </a:extLst>
          </p:cNvPr>
          <p:cNvSpPr txBox="1"/>
          <p:nvPr/>
        </p:nvSpPr>
        <p:spPr>
          <a:xfrm>
            <a:off x="1926166" y="5094328"/>
            <a:ext cx="8720667" cy="523220"/>
          </a:xfrm>
          <a:prstGeom prst="rect">
            <a:avLst/>
          </a:prstGeom>
          <a:noFill/>
        </p:spPr>
        <p:txBody>
          <a:bodyPr wrap="square">
            <a:spAutoFit/>
          </a:bodyPr>
          <a:lstStyle/>
          <a:p>
            <a:pPr algn="ctr" rtl="0">
              <a:buNone/>
            </a:pPr>
            <a:r>
              <a:rPr lang="en-US" sz="1400" dirty="0"/>
              <a:t>Every bilateral agreement relies on a shared framework that defines how product information is structured and understood, ensuring that every partner can exchange and retail products consistently.</a:t>
            </a:r>
          </a:p>
        </p:txBody>
      </p:sp>
    </p:spTree>
    <p:extLst>
      <p:ext uri="{BB962C8B-B14F-4D97-AF65-F5344CB8AC3E}">
        <p14:creationId xmlns:p14="http://schemas.microsoft.com/office/powerpoint/2010/main" val="25885328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1BFEB-1DA3-58A2-A67A-81175BEE2B2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5D66460-9A7F-30FB-7F8E-F2D851D4DC03}"/>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75D66460-9A7F-30FB-7F8E-F2D851D4DC0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1A93E-C80E-4FAF-D987-741E93DA1DEB}"/>
              </a:ext>
            </a:extLst>
          </p:cNvPr>
          <p:cNvSpPr>
            <a:spLocks noGrp="1"/>
          </p:cNvSpPr>
          <p:nvPr>
            <p:ph type="title"/>
          </p:nvPr>
        </p:nvSpPr>
        <p:spPr/>
        <p:txBody>
          <a:bodyPr vert="horz"/>
          <a:lstStyle/>
          <a:p>
            <a:r>
              <a:rPr lang="en-US" dirty="0"/>
              <a:t>Extended Requirements</a:t>
            </a:r>
          </a:p>
        </p:txBody>
      </p:sp>
      <p:sp>
        <p:nvSpPr>
          <p:cNvPr id="48" name="Rectangle: Rounded Corners 47">
            <a:extLst>
              <a:ext uri="{FF2B5EF4-FFF2-40B4-BE49-F238E27FC236}">
                <a16:creationId xmlns:a16="http://schemas.microsoft.com/office/drawing/2014/main" id="{AA13484A-1A54-7E31-647C-CF91FAC95465}"/>
              </a:ext>
            </a:extLst>
          </p:cNvPr>
          <p:cNvSpPr/>
          <p:nvPr/>
        </p:nvSpPr>
        <p:spPr>
          <a:xfrm>
            <a:off x="1385889" y="1333501"/>
            <a:ext cx="1743075" cy="4933951"/>
          </a:xfrm>
          <a:prstGeom prst="roundRect">
            <a:avLst>
              <a:gd name="adj" fmla="val 1229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ID">
              <a:solidFill>
                <a:srgbClr val="FFFFFF"/>
              </a:solidFill>
              <a:latin typeface="Lufthansa Office Text"/>
            </a:endParaRPr>
          </a:p>
        </p:txBody>
      </p:sp>
      <p:sp>
        <p:nvSpPr>
          <p:cNvPr id="49" name="Rectangle: Rounded Corners 48">
            <a:extLst>
              <a:ext uri="{FF2B5EF4-FFF2-40B4-BE49-F238E27FC236}">
                <a16:creationId xmlns:a16="http://schemas.microsoft.com/office/drawing/2014/main" id="{388F7464-B8E1-4BFE-F4C2-3CCC29DF24FB}"/>
              </a:ext>
            </a:extLst>
          </p:cNvPr>
          <p:cNvSpPr/>
          <p:nvPr/>
        </p:nvSpPr>
        <p:spPr>
          <a:xfrm>
            <a:off x="476251" y="1504951"/>
            <a:ext cx="3562351" cy="4610100"/>
          </a:xfrm>
          <a:prstGeom prst="roundRect">
            <a:avLst>
              <a:gd name="adj" fmla="val 1351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ID">
              <a:solidFill>
                <a:srgbClr val="FFFFFF"/>
              </a:solidFill>
              <a:latin typeface="Lufthansa Office Text"/>
            </a:endParaRPr>
          </a:p>
        </p:txBody>
      </p:sp>
      <p:sp>
        <p:nvSpPr>
          <p:cNvPr id="50" name="Rectangle: Rounded Corners 49">
            <a:extLst>
              <a:ext uri="{FF2B5EF4-FFF2-40B4-BE49-F238E27FC236}">
                <a16:creationId xmlns:a16="http://schemas.microsoft.com/office/drawing/2014/main" id="{E2795429-EE70-55A9-A524-5104DCFBF631}"/>
              </a:ext>
            </a:extLst>
          </p:cNvPr>
          <p:cNvSpPr/>
          <p:nvPr/>
        </p:nvSpPr>
        <p:spPr>
          <a:xfrm>
            <a:off x="671514" y="1847849"/>
            <a:ext cx="3171825" cy="70485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de-CH" sz="1600" b="1">
                <a:solidFill>
                  <a:srgbClr val="FFFFFF"/>
                </a:solidFill>
                <a:latin typeface="Lufthansa Office Head"/>
              </a:rPr>
              <a:t>Control and Lifecycle Management</a:t>
            </a:r>
            <a:endParaRPr lang="en-ID" sz="1600" b="1">
              <a:solidFill>
                <a:srgbClr val="FFFFFF"/>
              </a:solidFill>
              <a:latin typeface="Lufthansa Office Head"/>
            </a:endParaRPr>
          </a:p>
        </p:txBody>
      </p:sp>
      <p:sp>
        <p:nvSpPr>
          <p:cNvPr id="51" name="Rectangle: Rounded Corners 50">
            <a:extLst>
              <a:ext uri="{FF2B5EF4-FFF2-40B4-BE49-F238E27FC236}">
                <a16:creationId xmlns:a16="http://schemas.microsoft.com/office/drawing/2014/main" id="{07DB3236-8386-17F7-7C20-AFC290E87063}"/>
              </a:ext>
            </a:extLst>
          </p:cNvPr>
          <p:cNvSpPr/>
          <p:nvPr/>
        </p:nvSpPr>
        <p:spPr>
          <a:xfrm>
            <a:off x="671514" y="2669381"/>
            <a:ext cx="3171825" cy="70485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ID" sz="1600" b="1">
                <a:solidFill>
                  <a:srgbClr val="FFFFFF"/>
                </a:solidFill>
                <a:latin typeface="Lufthansa Office Head"/>
              </a:rPr>
              <a:t>Product Information Definition</a:t>
            </a:r>
          </a:p>
        </p:txBody>
      </p:sp>
      <p:sp>
        <p:nvSpPr>
          <p:cNvPr id="52" name="Rectangle: Rounded Corners 51">
            <a:extLst>
              <a:ext uri="{FF2B5EF4-FFF2-40B4-BE49-F238E27FC236}">
                <a16:creationId xmlns:a16="http://schemas.microsoft.com/office/drawing/2014/main" id="{B09D9DC5-02FB-1FD0-97D3-8C0DAB283697}"/>
              </a:ext>
            </a:extLst>
          </p:cNvPr>
          <p:cNvSpPr/>
          <p:nvPr/>
        </p:nvSpPr>
        <p:spPr>
          <a:xfrm>
            <a:off x="671514" y="3490912"/>
            <a:ext cx="3171825" cy="70485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ID" sz="1600" b="1">
                <a:solidFill>
                  <a:srgbClr val="FFFFFF"/>
                </a:solidFill>
                <a:latin typeface="Lufthansa Office Head"/>
              </a:rPr>
              <a:t>Retailer Data </a:t>
            </a:r>
            <a:br>
              <a:rPr lang="en-ID" sz="1600" b="1">
                <a:solidFill>
                  <a:srgbClr val="FFFFFF"/>
                </a:solidFill>
                <a:latin typeface="Lufthansa Office Head"/>
              </a:rPr>
            </a:br>
            <a:r>
              <a:rPr lang="en-ID" sz="1600" b="1">
                <a:solidFill>
                  <a:srgbClr val="FFFFFF"/>
                </a:solidFill>
                <a:latin typeface="Lufthansa Office Head"/>
              </a:rPr>
              <a:t>Usage</a:t>
            </a:r>
          </a:p>
        </p:txBody>
      </p:sp>
      <p:sp>
        <p:nvSpPr>
          <p:cNvPr id="53" name="Rectangle: Rounded Corners 52">
            <a:extLst>
              <a:ext uri="{FF2B5EF4-FFF2-40B4-BE49-F238E27FC236}">
                <a16:creationId xmlns:a16="http://schemas.microsoft.com/office/drawing/2014/main" id="{8B3C5901-9A1B-795B-3192-63C9FE867342}"/>
              </a:ext>
            </a:extLst>
          </p:cNvPr>
          <p:cNvSpPr/>
          <p:nvPr/>
        </p:nvSpPr>
        <p:spPr>
          <a:xfrm>
            <a:off x="671514" y="4312443"/>
            <a:ext cx="3171825" cy="70485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1600" b="1">
                <a:solidFill>
                  <a:srgbClr val="FFFFFF"/>
                </a:solidFill>
                <a:latin typeface="Lufthansa Office Head"/>
              </a:rPr>
              <a:t>Common Language and Business Process</a:t>
            </a:r>
            <a:endParaRPr lang="en-ID" sz="1600" b="1">
              <a:solidFill>
                <a:srgbClr val="FFFFFF"/>
              </a:solidFill>
              <a:latin typeface="Lufthansa Office Head"/>
            </a:endParaRPr>
          </a:p>
        </p:txBody>
      </p:sp>
      <p:sp>
        <p:nvSpPr>
          <p:cNvPr id="54" name="Rectangle: Rounded Corners 53">
            <a:extLst>
              <a:ext uri="{FF2B5EF4-FFF2-40B4-BE49-F238E27FC236}">
                <a16:creationId xmlns:a16="http://schemas.microsoft.com/office/drawing/2014/main" id="{11BEC259-D2D9-9870-3E4C-BF79CA0BD612}"/>
              </a:ext>
            </a:extLst>
          </p:cNvPr>
          <p:cNvSpPr/>
          <p:nvPr/>
        </p:nvSpPr>
        <p:spPr>
          <a:xfrm>
            <a:off x="671514" y="5133975"/>
            <a:ext cx="3171825" cy="70485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ID" sz="1600" b="1">
                <a:solidFill>
                  <a:srgbClr val="FFFFFF"/>
                </a:solidFill>
                <a:latin typeface="Lufthansa Office Head"/>
              </a:rPr>
              <a:t>Flexible Integration Architecture</a:t>
            </a:r>
          </a:p>
        </p:txBody>
      </p:sp>
      <p:sp>
        <p:nvSpPr>
          <p:cNvPr id="60" name="Rectangle: Rounded Corners 59">
            <a:extLst>
              <a:ext uri="{FF2B5EF4-FFF2-40B4-BE49-F238E27FC236}">
                <a16:creationId xmlns:a16="http://schemas.microsoft.com/office/drawing/2014/main" id="{D4401CA6-E108-60EB-C957-3A4F55100C81}"/>
              </a:ext>
            </a:extLst>
          </p:cNvPr>
          <p:cNvSpPr/>
          <p:nvPr/>
        </p:nvSpPr>
        <p:spPr>
          <a:xfrm>
            <a:off x="4414839" y="1847849"/>
            <a:ext cx="6791139" cy="70485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defRPr/>
            </a:pPr>
            <a:r>
              <a:rPr lang="en-US" sz="1400">
                <a:solidFill>
                  <a:srgbClr val="333333"/>
                </a:solidFill>
                <a:latin typeface="Lufthansa Office Text"/>
              </a:rPr>
              <a:t>Each participant must be able to create, update, deprecate, or delete products at any time, maintaining full control over their own product lifecycle.</a:t>
            </a:r>
          </a:p>
        </p:txBody>
      </p:sp>
      <p:sp>
        <p:nvSpPr>
          <p:cNvPr id="61" name="Rectangle: Rounded Corners 60">
            <a:extLst>
              <a:ext uri="{FF2B5EF4-FFF2-40B4-BE49-F238E27FC236}">
                <a16:creationId xmlns:a16="http://schemas.microsoft.com/office/drawing/2014/main" id="{61FBAB85-8A9B-66B1-B2B9-ED6897B77779}"/>
              </a:ext>
            </a:extLst>
          </p:cNvPr>
          <p:cNvSpPr/>
          <p:nvPr/>
        </p:nvSpPr>
        <p:spPr>
          <a:xfrm>
            <a:off x="4414838" y="2669381"/>
            <a:ext cx="7032095" cy="70485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defRPr/>
            </a:pPr>
            <a:r>
              <a:rPr lang="en-US" sz="1400">
                <a:solidFill>
                  <a:srgbClr val="333333"/>
                </a:solidFill>
                <a:latin typeface="Lufthansa Office Text"/>
              </a:rPr>
              <a:t>Participants may define and share any required product management data, including product features and attributes, lifecycle states &amp; additional business-relevant metadata.</a:t>
            </a:r>
          </a:p>
        </p:txBody>
      </p:sp>
      <p:sp>
        <p:nvSpPr>
          <p:cNvPr id="62" name="Rectangle: Rounded Corners 61">
            <a:extLst>
              <a:ext uri="{FF2B5EF4-FFF2-40B4-BE49-F238E27FC236}">
                <a16:creationId xmlns:a16="http://schemas.microsoft.com/office/drawing/2014/main" id="{6FCEA8DE-96B8-1EE5-48A9-FE29820753B6}"/>
              </a:ext>
            </a:extLst>
          </p:cNvPr>
          <p:cNvSpPr/>
          <p:nvPr/>
        </p:nvSpPr>
        <p:spPr>
          <a:xfrm>
            <a:off x="4414839" y="3490912"/>
            <a:ext cx="6791139" cy="70485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defRPr/>
            </a:pPr>
            <a:r>
              <a:rPr lang="en-US" sz="1400">
                <a:solidFill>
                  <a:srgbClr val="333333"/>
                </a:solidFill>
                <a:latin typeface="Lufthansa Office Text"/>
              </a:rPr>
              <a:t>Retailers may use received supplier information in any valid form or combination to construct Offers, within the limits of the data shared through the Supplier Catalogue.</a:t>
            </a:r>
          </a:p>
        </p:txBody>
      </p:sp>
      <p:sp>
        <p:nvSpPr>
          <p:cNvPr id="63" name="Rectangle: Rounded Corners 62">
            <a:extLst>
              <a:ext uri="{FF2B5EF4-FFF2-40B4-BE49-F238E27FC236}">
                <a16:creationId xmlns:a16="http://schemas.microsoft.com/office/drawing/2014/main" id="{72E89CDB-7372-7FCB-766E-620D58216229}"/>
              </a:ext>
            </a:extLst>
          </p:cNvPr>
          <p:cNvSpPr/>
          <p:nvPr/>
        </p:nvSpPr>
        <p:spPr>
          <a:xfrm>
            <a:off x="4414839" y="4312443"/>
            <a:ext cx="6791139" cy="70485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defRPr/>
            </a:pPr>
            <a:r>
              <a:rPr lang="en-US" sz="1400">
                <a:solidFill>
                  <a:srgbClr val="333333"/>
                </a:solidFill>
                <a:latin typeface="Lufthansa Office Text"/>
              </a:rPr>
              <a:t>A shared interpretation framework must exist for reading and processing exchanged product information, ensuring semantic consistency across all bilateral agreements.</a:t>
            </a:r>
          </a:p>
        </p:txBody>
      </p:sp>
      <p:sp>
        <p:nvSpPr>
          <p:cNvPr id="64" name="Rectangle: Rounded Corners 63">
            <a:extLst>
              <a:ext uri="{FF2B5EF4-FFF2-40B4-BE49-F238E27FC236}">
                <a16:creationId xmlns:a16="http://schemas.microsoft.com/office/drawing/2014/main" id="{80704214-9779-05A4-1500-7121A390D65A}"/>
              </a:ext>
            </a:extLst>
          </p:cNvPr>
          <p:cNvSpPr/>
          <p:nvPr/>
        </p:nvSpPr>
        <p:spPr>
          <a:xfrm>
            <a:off x="4414839" y="5133975"/>
            <a:ext cx="6791139" cy="70485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defRPr/>
            </a:pPr>
            <a:r>
              <a:rPr lang="en-US" sz="1400">
                <a:solidFill>
                  <a:srgbClr val="333333"/>
                </a:solidFill>
                <a:latin typeface="Lufthansa Office Text"/>
              </a:rPr>
              <a:t>The framework must support multiple interaction models (point-to-point, hub-and-spoke, or hybrid) to accommodate different implementation choices between partners.</a:t>
            </a:r>
          </a:p>
        </p:txBody>
      </p:sp>
      <p:cxnSp>
        <p:nvCxnSpPr>
          <p:cNvPr id="65" name="Straight Connector 64">
            <a:extLst>
              <a:ext uri="{FF2B5EF4-FFF2-40B4-BE49-F238E27FC236}">
                <a16:creationId xmlns:a16="http://schemas.microsoft.com/office/drawing/2014/main" id="{DD910F4C-70AC-8E2E-3BA5-A103802B472E}"/>
              </a:ext>
            </a:extLst>
          </p:cNvPr>
          <p:cNvCxnSpPr>
            <a:cxnSpLocks/>
          </p:cNvCxnSpPr>
          <p:nvPr/>
        </p:nvCxnSpPr>
        <p:spPr>
          <a:xfrm>
            <a:off x="4414840" y="2611041"/>
            <a:ext cx="710564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3D4798-9037-84C8-7EA5-E87AB0BEF6B5}"/>
              </a:ext>
            </a:extLst>
          </p:cNvPr>
          <p:cNvCxnSpPr>
            <a:cxnSpLocks/>
          </p:cNvCxnSpPr>
          <p:nvPr/>
        </p:nvCxnSpPr>
        <p:spPr>
          <a:xfrm>
            <a:off x="4414840" y="3432572"/>
            <a:ext cx="710564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70297A4-5855-C2AB-42B2-7BFF2E84556E}"/>
              </a:ext>
            </a:extLst>
          </p:cNvPr>
          <p:cNvCxnSpPr>
            <a:cxnSpLocks/>
          </p:cNvCxnSpPr>
          <p:nvPr/>
        </p:nvCxnSpPr>
        <p:spPr>
          <a:xfrm>
            <a:off x="4414840" y="4254103"/>
            <a:ext cx="710564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78D236C-2270-6450-E84C-B40E848C5741}"/>
              </a:ext>
            </a:extLst>
          </p:cNvPr>
          <p:cNvCxnSpPr>
            <a:cxnSpLocks/>
          </p:cNvCxnSpPr>
          <p:nvPr/>
        </p:nvCxnSpPr>
        <p:spPr>
          <a:xfrm>
            <a:off x="4414840" y="5075635"/>
            <a:ext cx="7105649"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28F157AF-6BC2-8A2F-BA47-9D8B475CEFF4}"/>
              </a:ext>
            </a:extLst>
          </p:cNvPr>
          <p:cNvSpPr txBox="1"/>
          <p:nvPr/>
        </p:nvSpPr>
        <p:spPr>
          <a:xfrm>
            <a:off x="11205977" y="1938665"/>
            <a:ext cx="393056" cy="523220"/>
          </a:xfrm>
          <a:prstGeom prst="rect">
            <a:avLst/>
          </a:prstGeom>
          <a:noFill/>
        </p:spPr>
        <p:txBody>
          <a:bodyPr wrap="none" rtlCol="0">
            <a:spAutoFit/>
          </a:bodyPr>
          <a:lstStyle/>
          <a:p>
            <a:pPr defTabSz="1219170">
              <a:defRPr/>
            </a:pPr>
            <a:r>
              <a:rPr lang="en-US" sz="2800" b="1" i="1">
                <a:solidFill>
                  <a:schemeClr val="accent1"/>
                </a:solidFill>
                <a:latin typeface="Lufthansa Office Text"/>
              </a:rPr>
              <a:t>1</a:t>
            </a:r>
            <a:endParaRPr lang="en-ID" sz="2800" b="1" i="1">
              <a:solidFill>
                <a:schemeClr val="accent1"/>
              </a:solidFill>
              <a:latin typeface="Lufthansa Office Text"/>
            </a:endParaRPr>
          </a:p>
        </p:txBody>
      </p:sp>
      <p:sp>
        <p:nvSpPr>
          <p:cNvPr id="75" name="TextBox 74">
            <a:extLst>
              <a:ext uri="{FF2B5EF4-FFF2-40B4-BE49-F238E27FC236}">
                <a16:creationId xmlns:a16="http://schemas.microsoft.com/office/drawing/2014/main" id="{AFA6CCE0-B09F-1BA7-74E9-3BF01B5885FE}"/>
              </a:ext>
            </a:extLst>
          </p:cNvPr>
          <p:cNvSpPr txBox="1"/>
          <p:nvPr/>
        </p:nvSpPr>
        <p:spPr>
          <a:xfrm>
            <a:off x="11205977" y="2760196"/>
            <a:ext cx="393056" cy="523220"/>
          </a:xfrm>
          <a:prstGeom prst="rect">
            <a:avLst/>
          </a:prstGeom>
          <a:noFill/>
        </p:spPr>
        <p:txBody>
          <a:bodyPr wrap="none" rtlCol="0">
            <a:spAutoFit/>
          </a:bodyPr>
          <a:lstStyle/>
          <a:p>
            <a:pPr defTabSz="1219170">
              <a:defRPr/>
            </a:pPr>
            <a:r>
              <a:rPr lang="en-US" sz="2800" b="1" i="1">
                <a:solidFill>
                  <a:schemeClr val="accent1"/>
                </a:solidFill>
                <a:latin typeface="Lufthansa Office Text"/>
              </a:rPr>
              <a:t>2</a:t>
            </a:r>
            <a:endParaRPr lang="en-ID" sz="2800" b="1" i="1">
              <a:solidFill>
                <a:schemeClr val="accent1"/>
              </a:solidFill>
              <a:latin typeface="Lufthansa Office Text"/>
            </a:endParaRPr>
          </a:p>
        </p:txBody>
      </p:sp>
      <p:sp>
        <p:nvSpPr>
          <p:cNvPr id="76" name="TextBox 75">
            <a:extLst>
              <a:ext uri="{FF2B5EF4-FFF2-40B4-BE49-F238E27FC236}">
                <a16:creationId xmlns:a16="http://schemas.microsoft.com/office/drawing/2014/main" id="{EC7C3D66-EAC8-AF02-71BC-4E6C4C8EF1BF}"/>
              </a:ext>
            </a:extLst>
          </p:cNvPr>
          <p:cNvSpPr txBox="1"/>
          <p:nvPr/>
        </p:nvSpPr>
        <p:spPr>
          <a:xfrm>
            <a:off x="11205977" y="3581727"/>
            <a:ext cx="393056" cy="523220"/>
          </a:xfrm>
          <a:prstGeom prst="rect">
            <a:avLst/>
          </a:prstGeom>
          <a:noFill/>
        </p:spPr>
        <p:txBody>
          <a:bodyPr wrap="none" rtlCol="0">
            <a:spAutoFit/>
          </a:bodyPr>
          <a:lstStyle/>
          <a:p>
            <a:pPr defTabSz="1219170">
              <a:defRPr/>
            </a:pPr>
            <a:r>
              <a:rPr lang="en-US" sz="2800" b="1" i="1">
                <a:solidFill>
                  <a:schemeClr val="accent1"/>
                </a:solidFill>
                <a:latin typeface="Lufthansa Office Text"/>
              </a:rPr>
              <a:t>3</a:t>
            </a:r>
            <a:endParaRPr lang="en-ID" sz="2800" b="1" i="1">
              <a:solidFill>
                <a:schemeClr val="accent1"/>
              </a:solidFill>
              <a:latin typeface="Lufthansa Office Text"/>
            </a:endParaRPr>
          </a:p>
        </p:txBody>
      </p:sp>
      <p:sp>
        <p:nvSpPr>
          <p:cNvPr id="77" name="TextBox 76">
            <a:extLst>
              <a:ext uri="{FF2B5EF4-FFF2-40B4-BE49-F238E27FC236}">
                <a16:creationId xmlns:a16="http://schemas.microsoft.com/office/drawing/2014/main" id="{88355A95-D549-0147-D4A8-C876A52DD9EC}"/>
              </a:ext>
            </a:extLst>
          </p:cNvPr>
          <p:cNvSpPr txBox="1"/>
          <p:nvPr/>
        </p:nvSpPr>
        <p:spPr>
          <a:xfrm>
            <a:off x="11205977" y="4403257"/>
            <a:ext cx="393056" cy="523220"/>
          </a:xfrm>
          <a:prstGeom prst="rect">
            <a:avLst/>
          </a:prstGeom>
          <a:noFill/>
        </p:spPr>
        <p:txBody>
          <a:bodyPr wrap="none" rtlCol="0">
            <a:spAutoFit/>
          </a:bodyPr>
          <a:lstStyle/>
          <a:p>
            <a:pPr defTabSz="1219170">
              <a:defRPr/>
            </a:pPr>
            <a:r>
              <a:rPr lang="en-US" sz="2800" b="1" i="1">
                <a:solidFill>
                  <a:schemeClr val="accent1"/>
                </a:solidFill>
                <a:latin typeface="Lufthansa Office Text"/>
              </a:rPr>
              <a:t>4</a:t>
            </a:r>
            <a:endParaRPr lang="en-ID" sz="2800" b="1" i="1">
              <a:solidFill>
                <a:schemeClr val="accent1"/>
              </a:solidFill>
              <a:latin typeface="Lufthansa Office Text"/>
            </a:endParaRPr>
          </a:p>
        </p:txBody>
      </p:sp>
      <p:sp>
        <p:nvSpPr>
          <p:cNvPr id="78" name="TextBox 77">
            <a:extLst>
              <a:ext uri="{FF2B5EF4-FFF2-40B4-BE49-F238E27FC236}">
                <a16:creationId xmlns:a16="http://schemas.microsoft.com/office/drawing/2014/main" id="{E2C30E08-EEB6-575F-3E4E-5BB168C80AE7}"/>
              </a:ext>
            </a:extLst>
          </p:cNvPr>
          <p:cNvSpPr txBox="1"/>
          <p:nvPr/>
        </p:nvSpPr>
        <p:spPr>
          <a:xfrm>
            <a:off x="11205977" y="5224789"/>
            <a:ext cx="393056" cy="523220"/>
          </a:xfrm>
          <a:prstGeom prst="rect">
            <a:avLst/>
          </a:prstGeom>
          <a:noFill/>
        </p:spPr>
        <p:txBody>
          <a:bodyPr wrap="none" rtlCol="0">
            <a:spAutoFit/>
          </a:bodyPr>
          <a:lstStyle/>
          <a:p>
            <a:pPr defTabSz="1219170">
              <a:defRPr/>
            </a:pPr>
            <a:r>
              <a:rPr lang="en-US" sz="2800" b="1" i="1">
                <a:solidFill>
                  <a:schemeClr val="accent1"/>
                </a:solidFill>
                <a:latin typeface="Lufthansa Office Text"/>
              </a:rPr>
              <a:t>5</a:t>
            </a:r>
            <a:endParaRPr lang="en-ID" sz="2800" b="1" i="1">
              <a:solidFill>
                <a:schemeClr val="accent1"/>
              </a:solidFill>
              <a:latin typeface="Lufthansa Office Text"/>
            </a:endParaRPr>
          </a:p>
        </p:txBody>
      </p:sp>
      <p:sp>
        <p:nvSpPr>
          <p:cNvPr id="3" name="Date Placeholder 2">
            <a:extLst>
              <a:ext uri="{FF2B5EF4-FFF2-40B4-BE49-F238E27FC236}">
                <a16:creationId xmlns:a16="http://schemas.microsoft.com/office/drawing/2014/main" id="{4FB0DD00-5374-0921-EF5A-13A1738C3EEC}"/>
              </a:ext>
            </a:extLst>
          </p:cNvPr>
          <p:cNvSpPr>
            <a:spLocks noGrp="1"/>
          </p:cNvSpPr>
          <p:nvPr>
            <p:ph type="dt" sz="half" idx="10"/>
          </p:nvPr>
        </p:nvSpPr>
        <p:spPr>
          <a:xfrm>
            <a:off x="6286500" y="6162324"/>
            <a:ext cx="2743200" cy="365125"/>
          </a:xfrm>
        </p:spPr>
        <p:txBody>
          <a:bodyPr/>
          <a:lstStyle/>
          <a:p>
            <a:r>
              <a:rPr lang="de-DE" noProof="0"/>
              <a:t>02 November 2025</a:t>
            </a:r>
            <a:endParaRPr lang="en-US" noProof="0"/>
          </a:p>
        </p:txBody>
      </p:sp>
      <p:sp>
        <p:nvSpPr>
          <p:cNvPr id="4" name="Footer Placeholder 3">
            <a:extLst>
              <a:ext uri="{FF2B5EF4-FFF2-40B4-BE49-F238E27FC236}">
                <a16:creationId xmlns:a16="http://schemas.microsoft.com/office/drawing/2014/main" id="{71AA7E1E-57A8-ADCF-0FE2-F38CB42CE4B0}"/>
              </a:ext>
            </a:extLst>
          </p:cNvPr>
          <p:cNvSpPr>
            <a:spLocks noGrp="1"/>
          </p:cNvSpPr>
          <p:nvPr>
            <p:ph type="ftr" sz="quarter" idx="11"/>
          </p:nvPr>
        </p:nvSpPr>
        <p:spPr>
          <a:xfrm>
            <a:off x="955370" y="6162324"/>
            <a:ext cx="4950130" cy="365125"/>
          </a:xfrm>
        </p:spPr>
        <p:txBody>
          <a:bodyPr/>
          <a:lstStyle/>
          <a:p>
            <a:r>
              <a:rPr lang="en-US" noProof="0"/>
              <a:t>APMWG</a:t>
            </a:r>
          </a:p>
        </p:txBody>
      </p:sp>
      <p:sp>
        <p:nvSpPr>
          <p:cNvPr id="5" name="Slide Number Placeholder 4">
            <a:extLst>
              <a:ext uri="{FF2B5EF4-FFF2-40B4-BE49-F238E27FC236}">
                <a16:creationId xmlns:a16="http://schemas.microsoft.com/office/drawing/2014/main" id="{F2B2D0DD-A4FF-D67F-1557-3505D95D85B1}"/>
              </a:ext>
            </a:extLst>
          </p:cNvPr>
          <p:cNvSpPr>
            <a:spLocks noGrp="1"/>
          </p:cNvSpPr>
          <p:nvPr>
            <p:ph type="sldNum" sz="quarter" idx="12"/>
          </p:nvPr>
        </p:nvSpPr>
        <p:spPr>
          <a:xfrm>
            <a:off x="381000" y="6162324"/>
            <a:ext cx="457200" cy="365125"/>
          </a:xfrm>
        </p:spPr>
        <p:txBody>
          <a:bodyPr/>
          <a:lstStyle/>
          <a:p>
            <a:fld id="{67242389-55B8-40B0-97B3-D8452A5F367E}" type="slidenum">
              <a:rPr lang="en-US" noProof="0" smtClean="0"/>
              <a:pPr/>
              <a:t>16</a:t>
            </a:fld>
            <a:endParaRPr lang="en-US" noProof="0" dirty="0"/>
          </a:p>
        </p:txBody>
      </p:sp>
    </p:spTree>
    <p:extLst>
      <p:ext uri="{BB962C8B-B14F-4D97-AF65-F5344CB8AC3E}">
        <p14:creationId xmlns:p14="http://schemas.microsoft.com/office/powerpoint/2010/main" val="422421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32485-1B4F-FAC1-710F-B8ABC363412A}"/>
              </a:ext>
            </a:extLst>
          </p:cNvPr>
          <p:cNvSpPr>
            <a:spLocks noGrp="1"/>
          </p:cNvSpPr>
          <p:nvPr>
            <p:ph type="title"/>
          </p:nvPr>
        </p:nvSpPr>
        <p:spPr/>
        <p:txBody>
          <a:bodyPr/>
          <a:lstStyle/>
          <a:p>
            <a:r>
              <a:rPr lang="en-IN" dirty="0"/>
              <a:t>Common Language</a:t>
            </a:r>
            <a:endParaRPr lang="en-US" dirty="0"/>
          </a:p>
        </p:txBody>
      </p:sp>
      <p:sp>
        <p:nvSpPr>
          <p:cNvPr id="3" name="Date Placeholder 2">
            <a:extLst>
              <a:ext uri="{FF2B5EF4-FFF2-40B4-BE49-F238E27FC236}">
                <a16:creationId xmlns:a16="http://schemas.microsoft.com/office/drawing/2014/main" id="{B9FBA70E-CD17-3E5D-2123-3B395D2E832A}"/>
              </a:ext>
            </a:extLst>
          </p:cNvPr>
          <p:cNvSpPr>
            <a:spLocks noGrp="1"/>
          </p:cNvSpPr>
          <p:nvPr>
            <p:ph type="dt" sz="half" idx="10"/>
          </p:nvPr>
        </p:nvSpPr>
        <p:spPr/>
        <p:txBody>
          <a:bodyPr/>
          <a:lstStyle/>
          <a:p>
            <a:r>
              <a:rPr lang="de-DE" noProof="0"/>
              <a:t>02 November 2025</a:t>
            </a:r>
            <a:endParaRPr lang="en-US" noProof="0"/>
          </a:p>
        </p:txBody>
      </p:sp>
      <p:sp>
        <p:nvSpPr>
          <p:cNvPr id="4" name="Footer Placeholder 3">
            <a:extLst>
              <a:ext uri="{FF2B5EF4-FFF2-40B4-BE49-F238E27FC236}">
                <a16:creationId xmlns:a16="http://schemas.microsoft.com/office/drawing/2014/main" id="{0396741E-B2F3-44BF-FF83-C4FE96B352ED}"/>
              </a:ext>
            </a:extLst>
          </p:cNvPr>
          <p:cNvSpPr>
            <a:spLocks noGrp="1"/>
          </p:cNvSpPr>
          <p:nvPr>
            <p:ph type="ftr" sz="quarter" idx="11"/>
          </p:nvPr>
        </p:nvSpPr>
        <p:spPr/>
        <p:txBody>
          <a:bodyPr/>
          <a:lstStyle/>
          <a:p>
            <a:r>
              <a:rPr lang="en-US" noProof="0"/>
              <a:t>APMWG</a:t>
            </a:r>
          </a:p>
        </p:txBody>
      </p:sp>
      <p:sp>
        <p:nvSpPr>
          <p:cNvPr id="5" name="Slide Number Placeholder 4">
            <a:extLst>
              <a:ext uri="{FF2B5EF4-FFF2-40B4-BE49-F238E27FC236}">
                <a16:creationId xmlns:a16="http://schemas.microsoft.com/office/drawing/2014/main" id="{FCB0E94B-5796-8D24-BCA8-4C7151642895}"/>
              </a:ext>
            </a:extLst>
          </p:cNvPr>
          <p:cNvSpPr>
            <a:spLocks noGrp="1"/>
          </p:cNvSpPr>
          <p:nvPr>
            <p:ph type="sldNum" sz="quarter" idx="12"/>
          </p:nvPr>
        </p:nvSpPr>
        <p:spPr/>
        <p:txBody>
          <a:bodyPr/>
          <a:lstStyle/>
          <a:p>
            <a:fld id="{67242389-55B8-40B0-97B3-D8452A5F367E}" type="slidenum">
              <a:rPr lang="en-US" noProof="0" smtClean="0"/>
              <a:pPr/>
              <a:t>17</a:t>
            </a:fld>
            <a:endParaRPr lang="en-US" noProof="0" dirty="0"/>
          </a:p>
        </p:txBody>
      </p:sp>
      <p:grpSp>
        <p:nvGrpSpPr>
          <p:cNvPr id="21" name="Group 20">
            <a:extLst>
              <a:ext uri="{FF2B5EF4-FFF2-40B4-BE49-F238E27FC236}">
                <a16:creationId xmlns:a16="http://schemas.microsoft.com/office/drawing/2014/main" id="{862D4591-E0BE-5278-4EF5-377F6571279B}"/>
              </a:ext>
            </a:extLst>
          </p:cNvPr>
          <p:cNvGrpSpPr/>
          <p:nvPr/>
        </p:nvGrpSpPr>
        <p:grpSpPr>
          <a:xfrm>
            <a:off x="883255" y="1942924"/>
            <a:ext cx="2482051" cy="2972151"/>
            <a:chOff x="896786" y="1830483"/>
            <a:chExt cx="2482051" cy="2972151"/>
          </a:xfrm>
        </p:grpSpPr>
        <p:sp>
          <p:nvSpPr>
            <p:cNvPr id="11" name="Rounded Rectangle 5">
              <a:extLst>
                <a:ext uri="{FF2B5EF4-FFF2-40B4-BE49-F238E27FC236}">
                  <a16:creationId xmlns:a16="http://schemas.microsoft.com/office/drawing/2014/main" id="{7F46761C-4FCA-C2E9-7444-09D28C299EC6}"/>
                </a:ext>
              </a:extLst>
            </p:cNvPr>
            <p:cNvSpPr/>
            <p:nvPr/>
          </p:nvSpPr>
          <p:spPr>
            <a:xfrm>
              <a:off x="1349330" y="1830483"/>
              <a:ext cx="1576962" cy="1576962"/>
            </a:xfrm>
            <a:custGeom>
              <a:avLst/>
              <a:gdLst/>
              <a:ahLst/>
              <a:cxnLst/>
              <a:rect l="0" t="0" r="0" b="0"/>
              <a:pathLst>
                <a:path w="1143000" h="1143000">
                  <a:moveTo>
                    <a:pt x="857250" y="1066542"/>
                  </a:moveTo>
                  <a:cubicBezTo>
                    <a:pt x="1028071" y="967730"/>
                    <a:pt x="1143000" y="783040"/>
                    <a:pt x="1143000" y="571500"/>
                  </a:cubicBezTo>
                  <a:cubicBezTo>
                    <a:pt x="1143000" y="255870"/>
                    <a:pt x="887129" y="0"/>
                    <a:pt x="571500" y="0"/>
                  </a:cubicBezTo>
                  <a:cubicBezTo>
                    <a:pt x="255870" y="0"/>
                    <a:pt x="0" y="255870"/>
                    <a:pt x="0" y="571500"/>
                  </a:cubicBezTo>
                  <a:cubicBezTo>
                    <a:pt x="0" y="783040"/>
                    <a:pt x="114928" y="967730"/>
                    <a:pt x="285750" y="1066542"/>
                  </a:cubicBezTo>
                  <a:lnTo>
                    <a:pt x="285750" y="495300"/>
                  </a:lnTo>
                  <a:cubicBezTo>
                    <a:pt x="254184" y="495300"/>
                    <a:pt x="228600" y="469715"/>
                    <a:pt x="228600" y="438150"/>
                  </a:cubicBezTo>
                  <a:lnTo>
                    <a:pt x="228600" y="419100"/>
                  </a:lnTo>
                  <a:lnTo>
                    <a:pt x="209550" y="419100"/>
                  </a:lnTo>
                  <a:cubicBezTo>
                    <a:pt x="188509" y="419100"/>
                    <a:pt x="171450" y="402040"/>
                    <a:pt x="171450" y="381000"/>
                  </a:cubicBezTo>
                  <a:cubicBezTo>
                    <a:pt x="171450" y="359959"/>
                    <a:pt x="188509" y="342900"/>
                    <a:pt x="209550" y="342900"/>
                  </a:cubicBezTo>
                  <a:lnTo>
                    <a:pt x="933450" y="342900"/>
                  </a:lnTo>
                  <a:cubicBezTo>
                    <a:pt x="954490" y="342900"/>
                    <a:pt x="971550" y="359959"/>
                    <a:pt x="971550" y="381000"/>
                  </a:cubicBezTo>
                  <a:cubicBezTo>
                    <a:pt x="971550" y="402040"/>
                    <a:pt x="954490" y="419100"/>
                    <a:pt x="933450" y="419100"/>
                  </a:cubicBezTo>
                  <a:lnTo>
                    <a:pt x="914400" y="419100"/>
                  </a:lnTo>
                  <a:lnTo>
                    <a:pt x="914400" y="438150"/>
                  </a:lnTo>
                  <a:cubicBezTo>
                    <a:pt x="914400" y="469715"/>
                    <a:pt x="888815" y="495300"/>
                    <a:pt x="857250" y="495300"/>
                  </a:cubicBezTo>
                  <a:lnTo>
                    <a:pt x="857250" y="1066542"/>
                  </a:lnTo>
                  <a:moveTo>
                    <a:pt x="800100" y="1095441"/>
                  </a:moveTo>
                  <a:lnTo>
                    <a:pt x="800100" y="619125"/>
                  </a:lnTo>
                  <a:cubicBezTo>
                    <a:pt x="800100" y="587559"/>
                    <a:pt x="774515" y="561975"/>
                    <a:pt x="742950" y="561975"/>
                  </a:cubicBezTo>
                  <a:cubicBezTo>
                    <a:pt x="711384" y="561975"/>
                    <a:pt x="685800" y="587559"/>
                    <a:pt x="685800" y="619125"/>
                  </a:cubicBezTo>
                  <a:lnTo>
                    <a:pt x="685800" y="1131570"/>
                  </a:lnTo>
                  <a:cubicBezTo>
                    <a:pt x="725557" y="1123502"/>
                    <a:pt x="763809" y="1111300"/>
                    <a:pt x="800100" y="1095441"/>
                  </a:cubicBezTo>
                  <a:moveTo>
                    <a:pt x="628650" y="1140180"/>
                  </a:moveTo>
                  <a:lnTo>
                    <a:pt x="628650" y="619125"/>
                  </a:lnTo>
                  <a:cubicBezTo>
                    <a:pt x="628650" y="587559"/>
                    <a:pt x="603065" y="561975"/>
                    <a:pt x="571500" y="561975"/>
                  </a:cubicBezTo>
                  <a:cubicBezTo>
                    <a:pt x="539934" y="561975"/>
                    <a:pt x="514350" y="587559"/>
                    <a:pt x="514350" y="619125"/>
                  </a:cubicBezTo>
                  <a:lnTo>
                    <a:pt x="514350" y="1140180"/>
                  </a:lnTo>
                  <a:cubicBezTo>
                    <a:pt x="533142" y="1142047"/>
                    <a:pt x="552211" y="1143000"/>
                    <a:pt x="571500" y="1143000"/>
                  </a:cubicBezTo>
                  <a:cubicBezTo>
                    <a:pt x="590788" y="1143000"/>
                    <a:pt x="609857" y="1142047"/>
                    <a:pt x="628650" y="1140180"/>
                  </a:cubicBezTo>
                  <a:moveTo>
                    <a:pt x="457200" y="1131570"/>
                  </a:moveTo>
                  <a:lnTo>
                    <a:pt x="457200" y="619125"/>
                  </a:lnTo>
                  <a:cubicBezTo>
                    <a:pt x="457200" y="587559"/>
                    <a:pt x="431615" y="561975"/>
                    <a:pt x="400050" y="561975"/>
                  </a:cubicBezTo>
                  <a:cubicBezTo>
                    <a:pt x="368484" y="561975"/>
                    <a:pt x="342900" y="587559"/>
                    <a:pt x="342900" y="619125"/>
                  </a:cubicBezTo>
                  <a:lnTo>
                    <a:pt x="342900" y="1095441"/>
                  </a:lnTo>
                  <a:cubicBezTo>
                    <a:pt x="379190" y="1111300"/>
                    <a:pt x="417442" y="1123502"/>
                    <a:pt x="457200" y="1131570"/>
                  </a:cubicBezTo>
                </a:path>
              </a:pathLst>
            </a:custGeom>
            <a:solidFill>
              <a:schemeClr val="accent1"/>
            </a:solidFill>
            <a:ln>
              <a:noFill/>
            </a:ln>
          </p:spPr>
          <p:txBody>
            <a:bodyPr rtlCol="0" anchor="ctr"/>
            <a:lstStyle/>
            <a:p>
              <a:pPr algn="ctr"/>
              <a:endParaRPr/>
            </a:p>
          </p:txBody>
        </p:sp>
        <p:sp>
          <p:nvSpPr>
            <p:cNvPr id="13" name="TextBox 12">
              <a:extLst>
                <a:ext uri="{FF2B5EF4-FFF2-40B4-BE49-F238E27FC236}">
                  <a16:creationId xmlns:a16="http://schemas.microsoft.com/office/drawing/2014/main" id="{A9A3109E-49F3-E98E-5F60-382DA50FBDC6}"/>
                </a:ext>
              </a:extLst>
            </p:cNvPr>
            <p:cNvSpPr txBox="1"/>
            <p:nvPr/>
          </p:nvSpPr>
          <p:spPr>
            <a:xfrm>
              <a:off x="896786" y="3587388"/>
              <a:ext cx="2482051" cy="276999"/>
            </a:xfrm>
            <a:prstGeom prst="rect">
              <a:avLst/>
            </a:prstGeom>
            <a:noFill/>
            <a:ln>
              <a:noFill/>
            </a:ln>
          </p:spPr>
          <p:txBody>
            <a:bodyPr wrap="square" lIns="0" tIns="0" rIns="0" bIns="0" anchor="t">
              <a:spAutoFit/>
            </a:bodyPr>
            <a:lstStyle/>
            <a:p>
              <a:pPr algn="ctr"/>
              <a:r>
                <a:rPr b="1" dirty="0">
                  <a:solidFill>
                    <a:schemeClr val="accent1"/>
                  </a:solidFill>
                </a:rPr>
                <a:t>Common</a:t>
              </a:r>
              <a:r>
                <a:rPr lang="de-CH" b="1" dirty="0">
                  <a:solidFill>
                    <a:schemeClr val="accent1"/>
                  </a:solidFill>
                </a:rPr>
                <a:t> </a:t>
              </a:r>
              <a:r>
                <a:rPr b="1" dirty="0">
                  <a:solidFill>
                    <a:schemeClr val="accent1"/>
                  </a:solidFill>
                </a:rPr>
                <a:t>Structure</a:t>
              </a:r>
            </a:p>
          </p:txBody>
        </p:sp>
        <p:sp>
          <p:nvSpPr>
            <p:cNvPr id="16" name="TextBox 15">
              <a:extLst>
                <a:ext uri="{FF2B5EF4-FFF2-40B4-BE49-F238E27FC236}">
                  <a16:creationId xmlns:a16="http://schemas.microsoft.com/office/drawing/2014/main" id="{78FD65E6-EC93-6137-9FF0-E4D32F093688}"/>
                </a:ext>
              </a:extLst>
            </p:cNvPr>
            <p:cNvSpPr txBox="1"/>
            <p:nvPr/>
          </p:nvSpPr>
          <p:spPr>
            <a:xfrm>
              <a:off x="931311" y="4063970"/>
              <a:ext cx="2413000" cy="738664"/>
            </a:xfrm>
            <a:prstGeom prst="rect">
              <a:avLst/>
            </a:prstGeom>
            <a:noFill/>
            <a:ln>
              <a:noFill/>
            </a:ln>
          </p:spPr>
          <p:txBody>
            <a:bodyPr wrap="square" lIns="0" tIns="0" rIns="0" bIns="0" anchor="t">
              <a:spAutoFit/>
            </a:bodyPr>
            <a:lstStyle/>
            <a:p>
              <a:pPr algn="ctr"/>
              <a:r>
                <a:rPr sz="1600" dirty="0"/>
                <a:t>Defines a shared</a:t>
              </a:r>
              <a:r>
                <a:rPr lang="de-CH" sz="1600" dirty="0"/>
                <a:t> f</a:t>
              </a:r>
              <a:r>
                <a:rPr sz="1600" dirty="0" err="1"/>
                <a:t>ramework</a:t>
              </a:r>
              <a:r>
                <a:rPr sz="1600" dirty="0"/>
                <a:t> </a:t>
              </a:r>
              <a:r>
                <a:rPr sz="1600" dirty="0" err="1"/>
                <a:t>fo</a:t>
              </a:r>
              <a:r>
                <a:rPr lang="de-CH" sz="1600" dirty="0"/>
                <a:t>r </a:t>
              </a:r>
              <a:r>
                <a:rPr sz="1600" dirty="0"/>
                <a:t>product</a:t>
              </a:r>
              <a:r>
                <a:rPr lang="de-CH" sz="1600" dirty="0"/>
                <a:t> </a:t>
              </a:r>
              <a:r>
                <a:rPr sz="1600" dirty="0"/>
                <a:t>descriptions.</a:t>
              </a:r>
            </a:p>
          </p:txBody>
        </p:sp>
      </p:grpSp>
      <p:grpSp>
        <p:nvGrpSpPr>
          <p:cNvPr id="22" name="Group 21">
            <a:extLst>
              <a:ext uri="{FF2B5EF4-FFF2-40B4-BE49-F238E27FC236}">
                <a16:creationId xmlns:a16="http://schemas.microsoft.com/office/drawing/2014/main" id="{439EB3A9-011D-A826-BC03-736ACD8BB5AD}"/>
              </a:ext>
            </a:extLst>
          </p:cNvPr>
          <p:cNvGrpSpPr/>
          <p:nvPr/>
        </p:nvGrpSpPr>
        <p:grpSpPr>
          <a:xfrm>
            <a:off x="4629284" y="1942924"/>
            <a:ext cx="2886616" cy="2972151"/>
            <a:chOff x="4511186" y="1830483"/>
            <a:chExt cx="2886616" cy="2972151"/>
          </a:xfrm>
        </p:grpSpPr>
        <p:sp>
          <p:nvSpPr>
            <p:cNvPr id="14" name="TextBox 13">
              <a:extLst>
                <a:ext uri="{FF2B5EF4-FFF2-40B4-BE49-F238E27FC236}">
                  <a16:creationId xmlns:a16="http://schemas.microsoft.com/office/drawing/2014/main" id="{1A2CD4A2-57AE-1D06-4C97-7A2262EF3D9C}"/>
                </a:ext>
              </a:extLst>
            </p:cNvPr>
            <p:cNvSpPr txBox="1"/>
            <p:nvPr/>
          </p:nvSpPr>
          <p:spPr>
            <a:xfrm>
              <a:off x="4511186" y="3587388"/>
              <a:ext cx="2886616" cy="276999"/>
            </a:xfrm>
            <a:prstGeom prst="rect">
              <a:avLst/>
            </a:prstGeom>
            <a:noFill/>
            <a:ln>
              <a:noFill/>
            </a:ln>
          </p:spPr>
          <p:txBody>
            <a:bodyPr wrap="square" lIns="0" tIns="0" rIns="0" bIns="0" anchor="t">
              <a:spAutoFit/>
            </a:bodyPr>
            <a:lstStyle/>
            <a:p>
              <a:pPr algn="ctr"/>
              <a:r>
                <a:rPr b="1" dirty="0">
                  <a:solidFill>
                    <a:schemeClr val="accent1"/>
                  </a:solidFill>
                </a:rPr>
                <a:t>Standardized</a:t>
              </a:r>
              <a:r>
                <a:rPr lang="de-CH" b="1" dirty="0">
                  <a:solidFill>
                    <a:schemeClr val="accent1"/>
                  </a:solidFill>
                </a:rPr>
                <a:t> </a:t>
              </a:r>
              <a:r>
                <a:rPr b="1" dirty="0">
                  <a:solidFill>
                    <a:schemeClr val="accent1"/>
                  </a:solidFill>
                </a:rPr>
                <a:t>Templates</a:t>
              </a:r>
            </a:p>
          </p:txBody>
        </p:sp>
        <p:sp>
          <p:nvSpPr>
            <p:cNvPr id="17" name="TextBox 16">
              <a:extLst>
                <a:ext uri="{FF2B5EF4-FFF2-40B4-BE49-F238E27FC236}">
                  <a16:creationId xmlns:a16="http://schemas.microsoft.com/office/drawing/2014/main" id="{45FA1BE9-79D3-3A73-5B9A-841F20CB8EAF}"/>
                </a:ext>
              </a:extLst>
            </p:cNvPr>
            <p:cNvSpPr txBox="1"/>
            <p:nvPr/>
          </p:nvSpPr>
          <p:spPr>
            <a:xfrm>
              <a:off x="4782146" y="4063970"/>
              <a:ext cx="2344697" cy="738664"/>
            </a:xfrm>
            <a:prstGeom prst="rect">
              <a:avLst/>
            </a:prstGeom>
            <a:noFill/>
            <a:ln>
              <a:noFill/>
            </a:ln>
          </p:spPr>
          <p:txBody>
            <a:bodyPr wrap="square" lIns="0" tIns="0" rIns="0" bIns="0" anchor="t">
              <a:spAutoFit/>
            </a:bodyPr>
            <a:lstStyle/>
            <a:p>
              <a:pPr algn="ctr"/>
              <a:r>
                <a:rPr sz="1600" dirty="0"/>
                <a:t>Offers ready-to-use</a:t>
              </a:r>
              <a:r>
                <a:rPr lang="de-CH" sz="1600" dirty="0"/>
                <a:t> </a:t>
              </a:r>
              <a:r>
                <a:rPr sz="1600" dirty="0"/>
                <a:t>schemas for quick</a:t>
              </a:r>
              <a:r>
                <a:rPr lang="de-CH" sz="1600" dirty="0"/>
                <a:t> </a:t>
              </a:r>
              <a:r>
                <a:rPr sz="1600" dirty="0"/>
                <a:t>implementation.</a:t>
              </a:r>
            </a:p>
          </p:txBody>
        </p:sp>
        <p:sp>
          <p:nvSpPr>
            <p:cNvPr id="19" name="Rounded Rectangle 5">
              <a:extLst>
                <a:ext uri="{FF2B5EF4-FFF2-40B4-BE49-F238E27FC236}">
                  <a16:creationId xmlns:a16="http://schemas.microsoft.com/office/drawing/2014/main" id="{4F6AB2ED-B3F0-DF5C-4B06-7554289F91D8}"/>
                </a:ext>
              </a:extLst>
            </p:cNvPr>
            <p:cNvSpPr/>
            <p:nvPr/>
          </p:nvSpPr>
          <p:spPr>
            <a:xfrm>
              <a:off x="5166013" y="1830483"/>
              <a:ext cx="1576962" cy="1576962"/>
            </a:xfrm>
            <a:custGeom>
              <a:avLst/>
              <a:gdLst/>
              <a:ahLst/>
              <a:cxnLst/>
              <a:rect l="0" t="0" r="0" b="0"/>
              <a:pathLst>
                <a:path w="1143000" h="1143000">
                  <a:moveTo>
                    <a:pt x="857250" y="1066542"/>
                  </a:moveTo>
                  <a:cubicBezTo>
                    <a:pt x="1028071" y="967730"/>
                    <a:pt x="1143000" y="783040"/>
                    <a:pt x="1143000" y="571500"/>
                  </a:cubicBezTo>
                  <a:cubicBezTo>
                    <a:pt x="1143000" y="255870"/>
                    <a:pt x="887129" y="0"/>
                    <a:pt x="571500" y="0"/>
                  </a:cubicBezTo>
                  <a:cubicBezTo>
                    <a:pt x="255870" y="0"/>
                    <a:pt x="0" y="255870"/>
                    <a:pt x="0" y="571500"/>
                  </a:cubicBezTo>
                  <a:cubicBezTo>
                    <a:pt x="0" y="783040"/>
                    <a:pt x="114928" y="967730"/>
                    <a:pt x="285750" y="1066542"/>
                  </a:cubicBezTo>
                  <a:lnTo>
                    <a:pt x="285750" y="495300"/>
                  </a:lnTo>
                  <a:cubicBezTo>
                    <a:pt x="254184" y="495300"/>
                    <a:pt x="228600" y="469715"/>
                    <a:pt x="228600" y="438150"/>
                  </a:cubicBezTo>
                  <a:lnTo>
                    <a:pt x="228600" y="419100"/>
                  </a:lnTo>
                  <a:lnTo>
                    <a:pt x="209550" y="419100"/>
                  </a:lnTo>
                  <a:cubicBezTo>
                    <a:pt x="188509" y="419100"/>
                    <a:pt x="171450" y="402040"/>
                    <a:pt x="171450" y="381000"/>
                  </a:cubicBezTo>
                  <a:cubicBezTo>
                    <a:pt x="171450" y="359959"/>
                    <a:pt x="188509" y="342900"/>
                    <a:pt x="209550" y="342900"/>
                  </a:cubicBezTo>
                  <a:lnTo>
                    <a:pt x="933450" y="342900"/>
                  </a:lnTo>
                  <a:cubicBezTo>
                    <a:pt x="954490" y="342900"/>
                    <a:pt x="971550" y="359959"/>
                    <a:pt x="971550" y="381000"/>
                  </a:cubicBezTo>
                  <a:cubicBezTo>
                    <a:pt x="971550" y="402040"/>
                    <a:pt x="954490" y="419100"/>
                    <a:pt x="933450" y="419100"/>
                  </a:cubicBezTo>
                  <a:lnTo>
                    <a:pt x="914400" y="419100"/>
                  </a:lnTo>
                  <a:lnTo>
                    <a:pt x="914400" y="438150"/>
                  </a:lnTo>
                  <a:cubicBezTo>
                    <a:pt x="914400" y="469715"/>
                    <a:pt x="888815" y="495300"/>
                    <a:pt x="857250" y="495300"/>
                  </a:cubicBezTo>
                  <a:lnTo>
                    <a:pt x="857250" y="1066542"/>
                  </a:lnTo>
                  <a:moveTo>
                    <a:pt x="800100" y="1095441"/>
                  </a:moveTo>
                  <a:lnTo>
                    <a:pt x="800100" y="619125"/>
                  </a:lnTo>
                  <a:cubicBezTo>
                    <a:pt x="800100" y="587559"/>
                    <a:pt x="774515" y="561975"/>
                    <a:pt x="742950" y="561975"/>
                  </a:cubicBezTo>
                  <a:cubicBezTo>
                    <a:pt x="711384" y="561975"/>
                    <a:pt x="685800" y="587559"/>
                    <a:pt x="685800" y="619125"/>
                  </a:cubicBezTo>
                  <a:lnTo>
                    <a:pt x="685800" y="1131570"/>
                  </a:lnTo>
                  <a:cubicBezTo>
                    <a:pt x="725557" y="1123502"/>
                    <a:pt x="763809" y="1111300"/>
                    <a:pt x="800100" y="1095441"/>
                  </a:cubicBezTo>
                  <a:moveTo>
                    <a:pt x="628650" y="1140180"/>
                  </a:moveTo>
                  <a:lnTo>
                    <a:pt x="628650" y="619125"/>
                  </a:lnTo>
                  <a:cubicBezTo>
                    <a:pt x="628650" y="587559"/>
                    <a:pt x="603065" y="561975"/>
                    <a:pt x="571500" y="561975"/>
                  </a:cubicBezTo>
                  <a:cubicBezTo>
                    <a:pt x="539934" y="561975"/>
                    <a:pt x="514350" y="587559"/>
                    <a:pt x="514350" y="619125"/>
                  </a:cubicBezTo>
                  <a:lnTo>
                    <a:pt x="514350" y="1140180"/>
                  </a:lnTo>
                  <a:cubicBezTo>
                    <a:pt x="533142" y="1142047"/>
                    <a:pt x="552211" y="1143000"/>
                    <a:pt x="571500" y="1143000"/>
                  </a:cubicBezTo>
                  <a:cubicBezTo>
                    <a:pt x="590788" y="1143000"/>
                    <a:pt x="609857" y="1142047"/>
                    <a:pt x="628650" y="1140180"/>
                  </a:cubicBezTo>
                  <a:moveTo>
                    <a:pt x="457200" y="1131570"/>
                  </a:moveTo>
                  <a:lnTo>
                    <a:pt x="457200" y="619125"/>
                  </a:lnTo>
                  <a:cubicBezTo>
                    <a:pt x="457200" y="587559"/>
                    <a:pt x="431615" y="561975"/>
                    <a:pt x="400050" y="561975"/>
                  </a:cubicBezTo>
                  <a:cubicBezTo>
                    <a:pt x="368484" y="561975"/>
                    <a:pt x="342900" y="587559"/>
                    <a:pt x="342900" y="619125"/>
                  </a:cubicBezTo>
                  <a:lnTo>
                    <a:pt x="342900" y="1095441"/>
                  </a:lnTo>
                  <a:cubicBezTo>
                    <a:pt x="379190" y="1111300"/>
                    <a:pt x="417442" y="1123502"/>
                    <a:pt x="457200" y="1131570"/>
                  </a:cubicBezTo>
                </a:path>
              </a:pathLst>
            </a:custGeom>
            <a:solidFill>
              <a:schemeClr val="accent1"/>
            </a:solidFill>
            <a:ln>
              <a:noFill/>
            </a:ln>
          </p:spPr>
          <p:txBody>
            <a:bodyPr rtlCol="0" anchor="ctr"/>
            <a:lstStyle/>
            <a:p>
              <a:pPr algn="ctr"/>
              <a:endParaRPr/>
            </a:p>
          </p:txBody>
        </p:sp>
      </p:grpSp>
      <p:grpSp>
        <p:nvGrpSpPr>
          <p:cNvPr id="23" name="Group 22">
            <a:extLst>
              <a:ext uri="{FF2B5EF4-FFF2-40B4-BE49-F238E27FC236}">
                <a16:creationId xmlns:a16="http://schemas.microsoft.com/office/drawing/2014/main" id="{0A08E832-F8DC-5B7A-2F0C-21638B6DC3ED}"/>
              </a:ext>
            </a:extLst>
          </p:cNvPr>
          <p:cNvGrpSpPr/>
          <p:nvPr/>
        </p:nvGrpSpPr>
        <p:grpSpPr>
          <a:xfrm>
            <a:off x="8779877" y="1944607"/>
            <a:ext cx="2467281" cy="2972151"/>
            <a:chOff x="8551165" y="1830483"/>
            <a:chExt cx="2467281" cy="2972151"/>
          </a:xfrm>
        </p:grpSpPr>
        <p:sp>
          <p:nvSpPr>
            <p:cNvPr id="15" name="TextBox 14">
              <a:extLst>
                <a:ext uri="{FF2B5EF4-FFF2-40B4-BE49-F238E27FC236}">
                  <a16:creationId xmlns:a16="http://schemas.microsoft.com/office/drawing/2014/main" id="{F36F1BD0-844F-0095-C284-2C75D3A227E6}"/>
                </a:ext>
              </a:extLst>
            </p:cNvPr>
            <p:cNvSpPr txBox="1"/>
            <p:nvPr/>
          </p:nvSpPr>
          <p:spPr>
            <a:xfrm>
              <a:off x="8581728" y="3587388"/>
              <a:ext cx="2406155" cy="276999"/>
            </a:xfrm>
            <a:prstGeom prst="rect">
              <a:avLst/>
            </a:prstGeom>
            <a:noFill/>
            <a:ln>
              <a:noFill/>
            </a:ln>
          </p:spPr>
          <p:txBody>
            <a:bodyPr wrap="square" lIns="0" tIns="0" rIns="0" bIns="0" anchor="t">
              <a:spAutoFit/>
            </a:bodyPr>
            <a:lstStyle/>
            <a:p>
              <a:pPr algn="ctr"/>
              <a:r>
                <a:rPr b="1" dirty="0">
                  <a:solidFill>
                    <a:schemeClr val="accent1"/>
                  </a:solidFill>
                </a:rPr>
                <a:t>Shared</a:t>
              </a:r>
              <a:r>
                <a:rPr lang="de-CH" b="1" dirty="0">
                  <a:solidFill>
                    <a:schemeClr val="accent1"/>
                  </a:solidFill>
                </a:rPr>
                <a:t> </a:t>
              </a:r>
              <a:r>
                <a:rPr b="1" dirty="0">
                  <a:solidFill>
                    <a:schemeClr val="accent1"/>
                  </a:solidFill>
                </a:rPr>
                <a:t>Vocabulary</a:t>
              </a:r>
            </a:p>
          </p:txBody>
        </p:sp>
        <p:sp>
          <p:nvSpPr>
            <p:cNvPr id="18" name="TextBox 17">
              <a:extLst>
                <a:ext uri="{FF2B5EF4-FFF2-40B4-BE49-F238E27FC236}">
                  <a16:creationId xmlns:a16="http://schemas.microsoft.com/office/drawing/2014/main" id="{00723BB0-1532-1A30-5C8A-11BE15F46F8D}"/>
                </a:ext>
              </a:extLst>
            </p:cNvPr>
            <p:cNvSpPr txBox="1"/>
            <p:nvPr/>
          </p:nvSpPr>
          <p:spPr>
            <a:xfrm>
              <a:off x="8551165" y="4063970"/>
              <a:ext cx="2467281" cy="738664"/>
            </a:xfrm>
            <a:prstGeom prst="rect">
              <a:avLst/>
            </a:prstGeom>
            <a:noFill/>
            <a:ln>
              <a:noFill/>
            </a:ln>
          </p:spPr>
          <p:txBody>
            <a:bodyPr wrap="square" lIns="0" tIns="0" rIns="0" bIns="0" anchor="t">
              <a:spAutoFit/>
            </a:bodyPr>
            <a:lstStyle/>
            <a:p>
              <a:pPr algn="ctr"/>
              <a:r>
                <a:rPr sz="1600" dirty="0"/>
                <a:t>Establishes a flexible</a:t>
              </a:r>
              <a:r>
                <a:rPr lang="de-CH" sz="1600" dirty="0"/>
                <a:t> </a:t>
              </a:r>
              <a:r>
                <a:rPr sz="1600" dirty="0"/>
                <a:t>language for product</a:t>
              </a:r>
              <a:r>
                <a:rPr lang="de-CH" sz="1600" dirty="0"/>
                <a:t> </a:t>
              </a:r>
              <a:r>
                <a:rPr sz="1600" dirty="0"/>
                <a:t>definitions.</a:t>
              </a:r>
            </a:p>
          </p:txBody>
        </p:sp>
        <p:sp>
          <p:nvSpPr>
            <p:cNvPr id="20" name="Rounded Rectangle 5">
              <a:extLst>
                <a:ext uri="{FF2B5EF4-FFF2-40B4-BE49-F238E27FC236}">
                  <a16:creationId xmlns:a16="http://schemas.microsoft.com/office/drawing/2014/main" id="{51928B4C-812F-BD37-EEE7-FBEDCD089E08}"/>
                </a:ext>
              </a:extLst>
            </p:cNvPr>
            <p:cNvSpPr/>
            <p:nvPr/>
          </p:nvSpPr>
          <p:spPr>
            <a:xfrm>
              <a:off x="8996324" y="1830483"/>
              <a:ext cx="1576962" cy="1576962"/>
            </a:xfrm>
            <a:custGeom>
              <a:avLst/>
              <a:gdLst/>
              <a:ahLst/>
              <a:cxnLst/>
              <a:rect l="0" t="0" r="0" b="0"/>
              <a:pathLst>
                <a:path w="1143000" h="1143000">
                  <a:moveTo>
                    <a:pt x="857250" y="1066542"/>
                  </a:moveTo>
                  <a:cubicBezTo>
                    <a:pt x="1028071" y="967730"/>
                    <a:pt x="1143000" y="783040"/>
                    <a:pt x="1143000" y="571500"/>
                  </a:cubicBezTo>
                  <a:cubicBezTo>
                    <a:pt x="1143000" y="255870"/>
                    <a:pt x="887129" y="0"/>
                    <a:pt x="571500" y="0"/>
                  </a:cubicBezTo>
                  <a:cubicBezTo>
                    <a:pt x="255870" y="0"/>
                    <a:pt x="0" y="255870"/>
                    <a:pt x="0" y="571500"/>
                  </a:cubicBezTo>
                  <a:cubicBezTo>
                    <a:pt x="0" y="783040"/>
                    <a:pt x="114928" y="967730"/>
                    <a:pt x="285750" y="1066542"/>
                  </a:cubicBezTo>
                  <a:lnTo>
                    <a:pt x="285750" y="495300"/>
                  </a:lnTo>
                  <a:cubicBezTo>
                    <a:pt x="254184" y="495300"/>
                    <a:pt x="228600" y="469715"/>
                    <a:pt x="228600" y="438150"/>
                  </a:cubicBezTo>
                  <a:lnTo>
                    <a:pt x="228600" y="419100"/>
                  </a:lnTo>
                  <a:lnTo>
                    <a:pt x="209550" y="419100"/>
                  </a:lnTo>
                  <a:cubicBezTo>
                    <a:pt x="188509" y="419100"/>
                    <a:pt x="171450" y="402040"/>
                    <a:pt x="171450" y="381000"/>
                  </a:cubicBezTo>
                  <a:cubicBezTo>
                    <a:pt x="171450" y="359959"/>
                    <a:pt x="188509" y="342900"/>
                    <a:pt x="209550" y="342900"/>
                  </a:cubicBezTo>
                  <a:lnTo>
                    <a:pt x="933450" y="342900"/>
                  </a:lnTo>
                  <a:cubicBezTo>
                    <a:pt x="954490" y="342900"/>
                    <a:pt x="971550" y="359959"/>
                    <a:pt x="971550" y="381000"/>
                  </a:cubicBezTo>
                  <a:cubicBezTo>
                    <a:pt x="971550" y="402040"/>
                    <a:pt x="954490" y="419100"/>
                    <a:pt x="933450" y="419100"/>
                  </a:cubicBezTo>
                  <a:lnTo>
                    <a:pt x="914400" y="419100"/>
                  </a:lnTo>
                  <a:lnTo>
                    <a:pt x="914400" y="438150"/>
                  </a:lnTo>
                  <a:cubicBezTo>
                    <a:pt x="914400" y="469715"/>
                    <a:pt x="888815" y="495300"/>
                    <a:pt x="857250" y="495300"/>
                  </a:cubicBezTo>
                  <a:lnTo>
                    <a:pt x="857250" y="1066542"/>
                  </a:lnTo>
                  <a:moveTo>
                    <a:pt x="800100" y="1095441"/>
                  </a:moveTo>
                  <a:lnTo>
                    <a:pt x="800100" y="619125"/>
                  </a:lnTo>
                  <a:cubicBezTo>
                    <a:pt x="800100" y="587559"/>
                    <a:pt x="774515" y="561975"/>
                    <a:pt x="742950" y="561975"/>
                  </a:cubicBezTo>
                  <a:cubicBezTo>
                    <a:pt x="711384" y="561975"/>
                    <a:pt x="685800" y="587559"/>
                    <a:pt x="685800" y="619125"/>
                  </a:cubicBezTo>
                  <a:lnTo>
                    <a:pt x="685800" y="1131570"/>
                  </a:lnTo>
                  <a:cubicBezTo>
                    <a:pt x="725557" y="1123502"/>
                    <a:pt x="763809" y="1111300"/>
                    <a:pt x="800100" y="1095441"/>
                  </a:cubicBezTo>
                  <a:moveTo>
                    <a:pt x="628650" y="1140180"/>
                  </a:moveTo>
                  <a:lnTo>
                    <a:pt x="628650" y="619125"/>
                  </a:lnTo>
                  <a:cubicBezTo>
                    <a:pt x="628650" y="587559"/>
                    <a:pt x="603065" y="561975"/>
                    <a:pt x="571500" y="561975"/>
                  </a:cubicBezTo>
                  <a:cubicBezTo>
                    <a:pt x="539934" y="561975"/>
                    <a:pt x="514350" y="587559"/>
                    <a:pt x="514350" y="619125"/>
                  </a:cubicBezTo>
                  <a:lnTo>
                    <a:pt x="514350" y="1140180"/>
                  </a:lnTo>
                  <a:cubicBezTo>
                    <a:pt x="533142" y="1142047"/>
                    <a:pt x="552211" y="1143000"/>
                    <a:pt x="571500" y="1143000"/>
                  </a:cubicBezTo>
                  <a:cubicBezTo>
                    <a:pt x="590788" y="1143000"/>
                    <a:pt x="609857" y="1142047"/>
                    <a:pt x="628650" y="1140180"/>
                  </a:cubicBezTo>
                  <a:moveTo>
                    <a:pt x="457200" y="1131570"/>
                  </a:moveTo>
                  <a:lnTo>
                    <a:pt x="457200" y="619125"/>
                  </a:lnTo>
                  <a:cubicBezTo>
                    <a:pt x="457200" y="587559"/>
                    <a:pt x="431615" y="561975"/>
                    <a:pt x="400050" y="561975"/>
                  </a:cubicBezTo>
                  <a:cubicBezTo>
                    <a:pt x="368484" y="561975"/>
                    <a:pt x="342900" y="587559"/>
                    <a:pt x="342900" y="619125"/>
                  </a:cubicBezTo>
                  <a:lnTo>
                    <a:pt x="342900" y="1095441"/>
                  </a:lnTo>
                  <a:cubicBezTo>
                    <a:pt x="379190" y="1111300"/>
                    <a:pt x="417442" y="1123502"/>
                    <a:pt x="457200" y="1131570"/>
                  </a:cubicBezTo>
                </a:path>
              </a:pathLst>
            </a:custGeom>
            <a:solidFill>
              <a:schemeClr val="accent1"/>
            </a:solidFill>
            <a:ln>
              <a:noFill/>
            </a:ln>
          </p:spPr>
          <p:txBody>
            <a:bodyPr rtlCol="0" anchor="ctr"/>
            <a:lstStyle/>
            <a:p>
              <a:pPr algn="ctr"/>
              <a:endParaRPr/>
            </a:p>
          </p:txBody>
        </p:sp>
      </p:grpSp>
    </p:spTree>
    <p:extLst>
      <p:ext uri="{BB962C8B-B14F-4D97-AF65-F5344CB8AC3E}">
        <p14:creationId xmlns:p14="http://schemas.microsoft.com/office/powerpoint/2010/main" val="3058529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6C3380-B635-63E7-63E5-65F71E07924F}"/>
              </a:ext>
            </a:extLst>
          </p:cNvPr>
          <p:cNvGraphicFramePr>
            <a:graphicFrameLocks noChangeAspect="1"/>
          </p:cNvGraphicFramePr>
          <p:nvPr>
            <p:custDataLst>
              <p:tags r:id="rId1"/>
            </p:custDataLst>
            <p:extLst>
              <p:ext uri="{D42A27DB-BD31-4B8C-83A1-F6EECF244321}">
                <p14:modId xmlns:p14="http://schemas.microsoft.com/office/powerpoint/2010/main" val="230943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think-cell data - do not delete" hidden="1">
                        <a:extLst>
                          <a:ext uri="{FF2B5EF4-FFF2-40B4-BE49-F238E27FC236}">
                            <a16:creationId xmlns:a16="http://schemas.microsoft.com/office/drawing/2014/main" id="{726C3380-B635-63E7-63E5-65F71E0792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9DA31F85-0AD2-97CF-25DC-ADDA21CC9AE7}"/>
              </a:ext>
            </a:extLst>
          </p:cNvPr>
          <p:cNvGrpSpPr/>
          <p:nvPr/>
        </p:nvGrpSpPr>
        <p:grpSpPr>
          <a:xfrm>
            <a:off x="6908562" y="4038120"/>
            <a:ext cx="4716576" cy="1461216"/>
            <a:chOff x="-1686170" y="3387214"/>
            <a:chExt cx="4716576" cy="1461216"/>
          </a:xfrm>
          <a:solidFill>
            <a:schemeClr val="accent2"/>
          </a:solidFill>
        </p:grpSpPr>
        <p:sp>
          <p:nvSpPr>
            <p:cNvPr id="10" name="Freeform 5">
              <a:extLst>
                <a:ext uri="{FF2B5EF4-FFF2-40B4-BE49-F238E27FC236}">
                  <a16:creationId xmlns:a16="http://schemas.microsoft.com/office/drawing/2014/main" id="{7FA1D7C1-F126-DDBD-76EE-36774258B98B}"/>
                </a:ext>
              </a:extLst>
            </p:cNvPr>
            <p:cNvSpPr>
              <a:spLocks noChangeAspect="1"/>
            </p:cNvSpPr>
            <p:nvPr/>
          </p:nvSpPr>
          <p:spPr bwMode="auto">
            <a:xfrm rot="10800000">
              <a:off x="-1686170" y="3387214"/>
              <a:ext cx="1012668" cy="1072478"/>
            </a:xfrm>
            <a:custGeom>
              <a:avLst/>
              <a:gdLst>
                <a:gd name="T0" fmla="*/ 2772 w 3326"/>
                <a:gd name="T1" fmla="*/ 0 h 3330"/>
                <a:gd name="T2" fmla="*/ 2772 w 3326"/>
                <a:gd name="T3" fmla="*/ 2775 h 3330"/>
                <a:gd name="T4" fmla="*/ 0 w 3326"/>
                <a:gd name="T5" fmla="*/ 2775 h 3330"/>
                <a:gd name="T6" fmla="*/ 0 w 3326"/>
                <a:gd name="T7" fmla="*/ 3330 h 3330"/>
                <a:gd name="T8" fmla="*/ 2772 w 3326"/>
                <a:gd name="T9" fmla="*/ 3330 h 3330"/>
                <a:gd name="T10" fmla="*/ 3326 w 3326"/>
                <a:gd name="T11" fmla="*/ 3330 h 3330"/>
                <a:gd name="T12" fmla="*/ 3326 w 3326"/>
                <a:gd name="T13" fmla="*/ 2775 h 3330"/>
                <a:gd name="T14" fmla="*/ 3326 w 3326"/>
                <a:gd name="T15" fmla="*/ 0 h 3330"/>
                <a:gd name="T16" fmla="*/ 2772 w 3326"/>
                <a:gd name="T17" fmla="*/ 0 h 3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26" h="3330">
                  <a:moveTo>
                    <a:pt x="2772" y="0"/>
                  </a:moveTo>
                  <a:lnTo>
                    <a:pt x="2772" y="2775"/>
                  </a:lnTo>
                  <a:lnTo>
                    <a:pt x="0" y="2775"/>
                  </a:lnTo>
                  <a:lnTo>
                    <a:pt x="0" y="3330"/>
                  </a:lnTo>
                  <a:lnTo>
                    <a:pt x="2772" y="3330"/>
                  </a:lnTo>
                  <a:lnTo>
                    <a:pt x="3326" y="3330"/>
                  </a:lnTo>
                  <a:lnTo>
                    <a:pt x="3326" y="2775"/>
                  </a:lnTo>
                  <a:lnTo>
                    <a:pt x="3326" y="0"/>
                  </a:lnTo>
                  <a:lnTo>
                    <a:pt x="2772" y="0"/>
                  </a:lnTo>
                  <a:close/>
                </a:path>
              </a:pathLst>
            </a:custGeom>
            <a:grpFill/>
            <a:ln>
              <a:solidFill>
                <a:schemeClr val="accent2"/>
              </a:solid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 b="0" i="0" u="none" strike="noStrike" kern="1200" cap="none" spc="0" normalizeH="0" baseline="0" noProof="0">
                <a:ln>
                  <a:noFill/>
                </a:ln>
                <a:solidFill>
                  <a:srgbClr val="000000"/>
                </a:solidFill>
                <a:effectLst/>
                <a:uLnTx/>
                <a:uFillTx/>
                <a:latin typeface="Aktiv Grotesk"/>
                <a:ea typeface="+mn-ea"/>
                <a:cs typeface="+mn-cs"/>
              </a:endParaRPr>
            </a:p>
          </p:txBody>
        </p:sp>
        <p:sp>
          <p:nvSpPr>
            <p:cNvPr id="11" name="Freeform 5">
              <a:extLst>
                <a:ext uri="{FF2B5EF4-FFF2-40B4-BE49-F238E27FC236}">
                  <a16:creationId xmlns:a16="http://schemas.microsoft.com/office/drawing/2014/main" id="{02171FA6-C882-B834-B753-A67C716EC2D8}"/>
                </a:ext>
              </a:extLst>
            </p:cNvPr>
            <p:cNvSpPr>
              <a:spLocks noChangeAspect="1"/>
            </p:cNvSpPr>
            <p:nvPr/>
          </p:nvSpPr>
          <p:spPr bwMode="auto">
            <a:xfrm>
              <a:off x="2017738" y="3775952"/>
              <a:ext cx="1012668" cy="1072478"/>
            </a:xfrm>
            <a:custGeom>
              <a:avLst/>
              <a:gdLst>
                <a:gd name="T0" fmla="*/ 2772 w 3326"/>
                <a:gd name="T1" fmla="*/ 0 h 3330"/>
                <a:gd name="T2" fmla="*/ 2772 w 3326"/>
                <a:gd name="T3" fmla="*/ 2775 h 3330"/>
                <a:gd name="T4" fmla="*/ 0 w 3326"/>
                <a:gd name="T5" fmla="*/ 2775 h 3330"/>
                <a:gd name="T6" fmla="*/ 0 w 3326"/>
                <a:gd name="T7" fmla="*/ 3330 h 3330"/>
                <a:gd name="T8" fmla="*/ 2772 w 3326"/>
                <a:gd name="T9" fmla="*/ 3330 h 3330"/>
                <a:gd name="T10" fmla="*/ 3326 w 3326"/>
                <a:gd name="T11" fmla="*/ 3330 h 3330"/>
                <a:gd name="T12" fmla="*/ 3326 w 3326"/>
                <a:gd name="T13" fmla="*/ 2775 h 3330"/>
                <a:gd name="T14" fmla="*/ 3326 w 3326"/>
                <a:gd name="T15" fmla="*/ 0 h 3330"/>
                <a:gd name="T16" fmla="*/ 2772 w 3326"/>
                <a:gd name="T17" fmla="*/ 0 h 3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26" h="3330">
                  <a:moveTo>
                    <a:pt x="2772" y="0"/>
                  </a:moveTo>
                  <a:lnTo>
                    <a:pt x="2772" y="2775"/>
                  </a:lnTo>
                  <a:lnTo>
                    <a:pt x="0" y="2775"/>
                  </a:lnTo>
                  <a:lnTo>
                    <a:pt x="0" y="3330"/>
                  </a:lnTo>
                  <a:lnTo>
                    <a:pt x="2772" y="3330"/>
                  </a:lnTo>
                  <a:lnTo>
                    <a:pt x="3326" y="3330"/>
                  </a:lnTo>
                  <a:lnTo>
                    <a:pt x="3326" y="2775"/>
                  </a:lnTo>
                  <a:lnTo>
                    <a:pt x="3326" y="0"/>
                  </a:lnTo>
                  <a:lnTo>
                    <a:pt x="2772" y="0"/>
                  </a:lnTo>
                  <a:close/>
                </a:path>
              </a:pathLst>
            </a:custGeom>
            <a:grpFill/>
            <a:ln>
              <a:solidFill>
                <a:schemeClr val="accent2"/>
              </a:solid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 b="0" i="0" u="none" strike="noStrike" kern="1200" cap="none" spc="0" normalizeH="0" baseline="0" noProof="0">
                <a:ln>
                  <a:noFill/>
                </a:ln>
                <a:solidFill>
                  <a:srgbClr val="000000"/>
                </a:solidFill>
                <a:effectLst/>
                <a:uLnTx/>
                <a:uFillTx/>
                <a:latin typeface="Aktiv Grotesk"/>
                <a:ea typeface="+mn-ea"/>
                <a:cs typeface="+mn-cs"/>
              </a:endParaRPr>
            </a:p>
          </p:txBody>
        </p:sp>
      </p:grpSp>
      <p:sp>
        <p:nvSpPr>
          <p:cNvPr id="12" name="Title 1">
            <a:extLst>
              <a:ext uri="{FF2B5EF4-FFF2-40B4-BE49-F238E27FC236}">
                <a16:creationId xmlns:a16="http://schemas.microsoft.com/office/drawing/2014/main" id="{362875CC-7BA0-783B-D49C-53F49B7DEA76}"/>
              </a:ext>
            </a:extLst>
          </p:cNvPr>
          <p:cNvSpPr>
            <a:spLocks noGrp="1"/>
          </p:cNvSpPr>
          <p:nvPr>
            <p:ph type="ctrTitle"/>
          </p:nvPr>
        </p:nvSpPr>
        <p:spPr>
          <a:xfrm>
            <a:off x="7401667" y="4539567"/>
            <a:ext cx="4649901" cy="847061"/>
          </a:xfrm>
        </p:spPr>
        <p:txBody>
          <a:bodyPr vert="horz"/>
          <a:lstStyle/>
          <a:p>
            <a:r>
              <a:rPr lang="en-US" sz="6000">
                <a:solidFill>
                  <a:schemeClr val="accent2"/>
                </a:solidFill>
              </a:rPr>
              <a:t>Thank you!</a:t>
            </a:r>
            <a:endParaRPr lang="en-GB" sz="3200">
              <a:solidFill>
                <a:schemeClr val="accent2"/>
              </a:solidFill>
            </a:endParaRPr>
          </a:p>
        </p:txBody>
      </p:sp>
      <p:sp>
        <p:nvSpPr>
          <p:cNvPr id="2" name="Date Placeholder 1">
            <a:extLst>
              <a:ext uri="{FF2B5EF4-FFF2-40B4-BE49-F238E27FC236}">
                <a16:creationId xmlns:a16="http://schemas.microsoft.com/office/drawing/2014/main" id="{830293BA-0F5D-653C-EB6C-2C4DE2AC8B9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prstClr val="white"/>
                </a:solidFill>
                <a:effectLst/>
                <a:uLnTx/>
                <a:uFillTx/>
                <a:latin typeface="Aktiv Grotesk"/>
                <a:ea typeface="+mn-ea"/>
                <a:cs typeface="+mn-cs"/>
              </a:rPr>
              <a:t>02 November 2025</a:t>
            </a:r>
            <a:endParaRPr kumimoji="0" lang="en-US" sz="2000" b="0" i="0" u="none" strike="noStrike" kern="1200" cap="none" spc="0" normalizeH="0" baseline="0" noProof="0">
              <a:ln>
                <a:noFill/>
              </a:ln>
              <a:solidFill>
                <a:prstClr val="white"/>
              </a:solidFill>
              <a:effectLst/>
              <a:uLnTx/>
              <a:uFillTx/>
              <a:latin typeface="Aktiv Grotesk"/>
              <a:ea typeface="+mn-ea"/>
              <a:cs typeface="+mn-cs"/>
            </a:endParaRPr>
          </a:p>
        </p:txBody>
      </p:sp>
    </p:spTree>
    <p:extLst>
      <p:ext uri="{BB962C8B-B14F-4D97-AF65-F5344CB8AC3E}">
        <p14:creationId xmlns:p14="http://schemas.microsoft.com/office/powerpoint/2010/main" val="64401759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0DA88-F9AA-F6DF-03C0-B19648D6D79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E885847-68DF-2B7E-67BC-25B12501B1D9}"/>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FE885847-68DF-2B7E-67BC-25B12501B1D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D40685-F900-7486-BD0E-2FD5BB5FB76F}"/>
              </a:ext>
            </a:extLst>
          </p:cNvPr>
          <p:cNvSpPr>
            <a:spLocks noGrp="1"/>
          </p:cNvSpPr>
          <p:nvPr>
            <p:ph type="title"/>
          </p:nvPr>
        </p:nvSpPr>
        <p:spPr/>
        <p:txBody>
          <a:bodyPr vert="horz"/>
          <a:lstStyle/>
          <a:p>
            <a:r>
              <a:rPr lang="de-CH" err="1"/>
              <a:t>Product</a:t>
            </a:r>
            <a:r>
              <a:rPr lang="de-CH"/>
              <a:t> Definition: </a:t>
            </a:r>
            <a:r>
              <a:rPr lang="en-US"/>
              <a:t>Describing product in the Retailer / Supplier for automated processing</a:t>
            </a:r>
            <a:br>
              <a:rPr lang="en-US"/>
            </a:br>
            <a:endParaRPr lang="en-US"/>
          </a:p>
        </p:txBody>
      </p:sp>
      <p:sp>
        <p:nvSpPr>
          <p:cNvPr id="5" name="Date Placeholder 4">
            <a:extLst>
              <a:ext uri="{FF2B5EF4-FFF2-40B4-BE49-F238E27FC236}">
                <a16:creationId xmlns:a16="http://schemas.microsoft.com/office/drawing/2014/main" id="{14418D73-120F-76BC-C44E-14951AE04806}"/>
              </a:ext>
            </a:extLst>
          </p:cNvPr>
          <p:cNvSpPr>
            <a:spLocks noGrp="1"/>
          </p:cNvSpPr>
          <p:nvPr>
            <p:ph type="dt" sz="half" idx="10"/>
          </p:nvPr>
        </p:nvSpPr>
        <p:spPr/>
        <p:txBody>
          <a:bodyPr/>
          <a:lstStyle/>
          <a:p>
            <a:pPr defTabSz="1219170">
              <a:defRPr/>
            </a:pPr>
            <a:r>
              <a:rPr lang="de-DE" sz="800">
                <a:solidFill>
                  <a:srgbClr val="787878"/>
                </a:solidFill>
                <a:latin typeface="Lufthansa Office Head"/>
              </a:rPr>
              <a:t>02 November 2025</a:t>
            </a:r>
            <a:endParaRPr lang="en-US" sz="800">
              <a:solidFill>
                <a:srgbClr val="787878"/>
              </a:solidFill>
              <a:latin typeface="Lufthansa Office Head"/>
            </a:endParaRPr>
          </a:p>
        </p:txBody>
      </p:sp>
      <p:sp>
        <p:nvSpPr>
          <p:cNvPr id="10" name="Footer Placeholder 9">
            <a:extLst>
              <a:ext uri="{FF2B5EF4-FFF2-40B4-BE49-F238E27FC236}">
                <a16:creationId xmlns:a16="http://schemas.microsoft.com/office/drawing/2014/main" id="{6A6CF79C-4203-4F6C-8EBD-3179C22F5ABA}"/>
              </a:ext>
            </a:extLst>
          </p:cNvPr>
          <p:cNvSpPr>
            <a:spLocks noGrp="1"/>
          </p:cNvSpPr>
          <p:nvPr>
            <p:ph type="ftr" sz="quarter" idx="11"/>
          </p:nvPr>
        </p:nvSpPr>
        <p:spPr/>
        <p:txBody>
          <a:bodyPr/>
          <a:lstStyle/>
          <a:p>
            <a:pPr defTabSz="1219170">
              <a:defRPr/>
            </a:pPr>
            <a:r>
              <a:rPr lang="en-US" sz="800" b="1">
                <a:solidFill>
                  <a:srgbClr val="787878"/>
                </a:solidFill>
                <a:latin typeface="Lufthansa Office Head"/>
              </a:rPr>
              <a:t>APMWG</a:t>
            </a:r>
          </a:p>
        </p:txBody>
      </p:sp>
      <p:sp>
        <p:nvSpPr>
          <p:cNvPr id="12" name="Slide Number Placeholder 11">
            <a:extLst>
              <a:ext uri="{FF2B5EF4-FFF2-40B4-BE49-F238E27FC236}">
                <a16:creationId xmlns:a16="http://schemas.microsoft.com/office/drawing/2014/main" id="{437D278F-11D1-503B-02E1-CE21163A0C3E}"/>
              </a:ext>
            </a:extLst>
          </p:cNvPr>
          <p:cNvSpPr>
            <a:spLocks noGrp="1"/>
          </p:cNvSpPr>
          <p:nvPr>
            <p:ph type="sldNum" sz="quarter" idx="12"/>
          </p:nvPr>
        </p:nvSpPr>
        <p:spPr/>
        <p:txBody>
          <a:bodyPr/>
          <a:lstStyle/>
          <a:p>
            <a:pPr defTabSz="1219170">
              <a:defRPr/>
            </a:pPr>
            <a:r>
              <a:rPr lang="en-US" sz="800">
                <a:solidFill>
                  <a:srgbClr val="787878"/>
                </a:solidFill>
                <a:latin typeface="Lufthansa Office Head"/>
              </a:rPr>
              <a:t>Page </a:t>
            </a:r>
            <a:fld id="{67242389-55B8-40B0-97B3-D8452A5F367E}" type="slidenum">
              <a:rPr lang="en-US" sz="800">
                <a:solidFill>
                  <a:srgbClr val="787878"/>
                </a:solidFill>
                <a:latin typeface="Lufthansa Office Head"/>
              </a:rPr>
              <a:pPr defTabSz="1219170">
                <a:defRPr/>
              </a:pPr>
              <a:t>19</a:t>
            </a:fld>
            <a:endParaRPr lang="en-US" sz="800">
              <a:solidFill>
                <a:srgbClr val="787878"/>
              </a:solidFill>
              <a:latin typeface="Lufthansa Office Head"/>
            </a:endParaRPr>
          </a:p>
        </p:txBody>
      </p:sp>
      <p:pic>
        <p:nvPicPr>
          <p:cNvPr id="4" name="Picture 2">
            <a:extLst>
              <a:ext uri="{FF2B5EF4-FFF2-40B4-BE49-F238E27FC236}">
                <a16:creationId xmlns:a16="http://schemas.microsoft.com/office/drawing/2014/main" id="{E264ABC4-FAF0-4B7C-A3C6-2038ED3795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05389" y="1656462"/>
            <a:ext cx="3981223" cy="4505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25991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81EF683-C9E7-44A6-8115-12BE8302BA2D}"/>
              </a:ext>
            </a:extLst>
          </p:cNvPr>
          <p:cNvGraphicFramePr>
            <a:graphicFrameLocks noChangeAspect="1"/>
          </p:cNvGraphicFramePr>
          <p:nvPr>
            <p:custDataLst>
              <p:tags r:id="rId1"/>
            </p:custDataLst>
            <p:extLst>
              <p:ext uri="{D42A27DB-BD31-4B8C-83A1-F6EECF244321}">
                <p14:modId xmlns:p14="http://schemas.microsoft.com/office/powerpoint/2010/main" val="1289249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881EF683-C9E7-44A6-8115-12BE8302BA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117C57C4-8965-5330-4BD7-39675F319531}"/>
              </a:ext>
            </a:extLst>
          </p:cNvPr>
          <p:cNvSpPr>
            <a:spLocks noGrp="1"/>
          </p:cNvSpPr>
          <p:nvPr>
            <p:ph idx="1"/>
          </p:nvPr>
        </p:nvSpPr>
        <p:spPr>
          <a:xfrm>
            <a:off x="381000" y="1869821"/>
            <a:ext cx="10515600" cy="3395516"/>
          </a:xfrm>
        </p:spPr>
        <p:txBody>
          <a:bodyPr>
            <a:normAutofit fontScale="85000" lnSpcReduction="20000"/>
          </a:bodyPr>
          <a:lstStyle/>
          <a:p>
            <a:pPr marL="514350" indent="-514350">
              <a:buFont typeface="+mj-lt"/>
              <a:buAutoNum type="arabicPeriod"/>
            </a:pPr>
            <a:r>
              <a:rPr lang="en-US" sz="2800" dirty="0"/>
              <a:t>Why Product Management matters</a:t>
            </a:r>
          </a:p>
          <a:p>
            <a:pPr marL="514350" indent="-514350">
              <a:buFont typeface="+mj-lt"/>
              <a:buAutoNum type="arabicPeriod"/>
            </a:pPr>
            <a:r>
              <a:rPr lang="en-US" sz="2800" dirty="0"/>
              <a:t>What is Product Management</a:t>
            </a:r>
          </a:p>
          <a:p>
            <a:pPr marL="514350" indent="-514350">
              <a:buFont typeface="+mj-lt"/>
              <a:buAutoNum type="arabicPeriod"/>
            </a:pPr>
            <a:r>
              <a:rPr lang="en-US" sz="2800" dirty="0"/>
              <a:t>Introduction to APMWG</a:t>
            </a:r>
          </a:p>
          <a:p>
            <a:pPr marL="514350" indent="-514350">
              <a:buFont typeface="+mj-lt"/>
              <a:buAutoNum type="arabicPeriod"/>
            </a:pPr>
            <a:r>
              <a:rPr lang="en-US" sz="2800" dirty="0"/>
              <a:t>Overview of the product catalogue </a:t>
            </a:r>
          </a:p>
          <a:p>
            <a:pPr marL="514350" indent="-514350">
              <a:buFont typeface="+mj-lt"/>
              <a:buAutoNum type="arabicPeriod"/>
            </a:pPr>
            <a:r>
              <a:rPr lang="en-US" sz="2800" dirty="0"/>
              <a:t>What is in scope and what is out of scope. </a:t>
            </a:r>
          </a:p>
          <a:p>
            <a:pPr marL="514350" indent="-514350">
              <a:buFont typeface="+mj-lt"/>
              <a:buAutoNum type="arabicPeriod"/>
            </a:pPr>
            <a:r>
              <a:rPr lang="en-US" sz="2800" dirty="0"/>
              <a:t>How is product defined : Product Definition Vs Taxonomy Definitions</a:t>
            </a:r>
          </a:p>
          <a:p>
            <a:pPr marL="514350" indent="-514350">
              <a:buFont typeface="+mj-lt"/>
              <a:buAutoNum type="arabicPeriod"/>
            </a:pPr>
            <a:r>
              <a:rPr lang="en-US" sz="2800" dirty="0"/>
              <a:t>Diagrammatic representation of supplier catalogue</a:t>
            </a:r>
          </a:p>
          <a:p>
            <a:pPr marL="514350" indent="-514350">
              <a:buFont typeface="+mj-lt"/>
              <a:buAutoNum type="arabicPeriod"/>
            </a:pPr>
            <a:r>
              <a:rPr lang="en-US" sz="2800" dirty="0"/>
              <a:t>Diagrammatic representation of Airline profile</a:t>
            </a:r>
          </a:p>
          <a:p>
            <a:pPr marL="514350" indent="-514350">
              <a:buFont typeface="+mj-lt"/>
              <a:buAutoNum type="arabicPeriod"/>
            </a:pPr>
            <a:r>
              <a:rPr lang="en-US" sz="2800" dirty="0"/>
              <a:t>Offer request/response flow between retailer and supplier</a:t>
            </a:r>
          </a:p>
        </p:txBody>
      </p:sp>
      <p:sp>
        <p:nvSpPr>
          <p:cNvPr id="2" name="Title 1">
            <a:extLst>
              <a:ext uri="{FF2B5EF4-FFF2-40B4-BE49-F238E27FC236}">
                <a16:creationId xmlns:a16="http://schemas.microsoft.com/office/drawing/2014/main" id="{8A8EA1FE-DAB7-A820-FFC9-CB265635CCA6}"/>
              </a:ext>
            </a:extLst>
          </p:cNvPr>
          <p:cNvSpPr>
            <a:spLocks noGrp="1"/>
          </p:cNvSpPr>
          <p:nvPr>
            <p:ph type="title"/>
          </p:nvPr>
        </p:nvSpPr>
        <p:spPr>
          <a:xfrm>
            <a:off x="381000" y="365125"/>
            <a:ext cx="11429324" cy="609398"/>
          </a:xfrm>
        </p:spPr>
        <p:txBody>
          <a:bodyPr vert="horz"/>
          <a:lstStyle/>
          <a:p>
            <a:r>
              <a:rPr lang="en-IN" dirty="0"/>
              <a:t>AGENDA</a:t>
            </a:r>
          </a:p>
        </p:txBody>
      </p:sp>
      <p:sp>
        <p:nvSpPr>
          <p:cNvPr id="4" name="Date Placeholder 3">
            <a:extLst>
              <a:ext uri="{FF2B5EF4-FFF2-40B4-BE49-F238E27FC236}">
                <a16:creationId xmlns:a16="http://schemas.microsoft.com/office/drawing/2014/main" id="{65CEA560-DCEF-37B4-ACB8-3BA63C288EC1}"/>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96D2D7B6-8DCF-08A7-5350-4046B8C9A81B}"/>
              </a:ext>
            </a:extLst>
          </p:cNvPr>
          <p:cNvSpPr>
            <a:spLocks noGrp="1"/>
          </p:cNvSpPr>
          <p:nvPr>
            <p:ph type="ftr" sz="quarter" idx="11"/>
          </p:nvPr>
        </p:nvSpPr>
        <p:spPr/>
        <p:txBody>
          <a:bodyPr/>
          <a:lstStyle/>
          <a:p>
            <a:r>
              <a:rPr lang="en-US" dirty="0"/>
              <a:t>APMWG</a:t>
            </a:r>
          </a:p>
        </p:txBody>
      </p:sp>
      <p:sp>
        <p:nvSpPr>
          <p:cNvPr id="7" name="Slide Number Placeholder 6">
            <a:extLst>
              <a:ext uri="{FF2B5EF4-FFF2-40B4-BE49-F238E27FC236}">
                <a16:creationId xmlns:a16="http://schemas.microsoft.com/office/drawing/2014/main" id="{EB387F0D-D7AA-186D-2D2E-C0265D132F00}"/>
              </a:ext>
            </a:extLst>
          </p:cNvPr>
          <p:cNvSpPr>
            <a:spLocks noGrp="1"/>
          </p:cNvSpPr>
          <p:nvPr>
            <p:ph type="sldNum" sz="quarter" idx="12"/>
          </p:nvPr>
        </p:nvSpPr>
        <p:spPr/>
        <p:txBody>
          <a:bodyPr/>
          <a:lstStyle/>
          <a:p>
            <a:fld id="{1A9E565A-6679-4A67-8FB7-14EA342FD6E1}" type="slidenum">
              <a:rPr lang="en-US" smtClean="0"/>
              <a:pPr/>
              <a:t>2</a:t>
            </a:fld>
            <a:endParaRPr lang="en-US"/>
          </a:p>
        </p:txBody>
      </p:sp>
    </p:spTree>
    <p:extLst>
      <p:ext uri="{BB962C8B-B14F-4D97-AF65-F5344CB8AC3E}">
        <p14:creationId xmlns:p14="http://schemas.microsoft.com/office/powerpoint/2010/main" val="387476397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F9258-8C73-2A4F-AC56-7F3C298CC69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DAEE05-C0C9-89D4-18CE-15301B4870F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65DAEE05-C0C9-89D4-18CE-15301B4870F7}"/>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DBCB87-1459-DEAE-E954-6F22745ABEFF}"/>
              </a:ext>
            </a:extLst>
          </p:cNvPr>
          <p:cNvSpPr>
            <a:spLocks noGrp="1"/>
          </p:cNvSpPr>
          <p:nvPr>
            <p:ph type="title"/>
          </p:nvPr>
        </p:nvSpPr>
        <p:spPr/>
        <p:txBody>
          <a:bodyPr vert="horz"/>
          <a:lstStyle/>
          <a:p>
            <a:r>
              <a:rPr lang="en-US"/>
              <a:t>Taxonomy: Applied to the Retailer / Supplier model</a:t>
            </a:r>
            <a:br>
              <a:rPr lang="en-US"/>
            </a:br>
            <a:br>
              <a:rPr lang="en-US"/>
            </a:br>
            <a:endParaRPr lang="en-US"/>
          </a:p>
        </p:txBody>
      </p:sp>
      <p:sp>
        <p:nvSpPr>
          <p:cNvPr id="6" name="Date Placeholder 5">
            <a:extLst>
              <a:ext uri="{FF2B5EF4-FFF2-40B4-BE49-F238E27FC236}">
                <a16:creationId xmlns:a16="http://schemas.microsoft.com/office/drawing/2014/main" id="{CBEF643A-E8A7-0C4F-8E43-93A3A450C448}"/>
              </a:ext>
            </a:extLst>
          </p:cNvPr>
          <p:cNvSpPr>
            <a:spLocks noGrp="1"/>
          </p:cNvSpPr>
          <p:nvPr>
            <p:ph type="dt" sz="half" idx="10"/>
          </p:nvPr>
        </p:nvSpPr>
        <p:spPr/>
        <p:txBody>
          <a:bodyPr/>
          <a:lstStyle/>
          <a:p>
            <a:pPr defTabSz="1219170">
              <a:defRPr/>
            </a:pPr>
            <a:r>
              <a:rPr lang="de-DE" sz="800">
                <a:solidFill>
                  <a:srgbClr val="787878"/>
                </a:solidFill>
                <a:latin typeface="Lufthansa Office Head"/>
              </a:rPr>
              <a:t>02 November 2025</a:t>
            </a:r>
            <a:endParaRPr lang="en-US" sz="800">
              <a:solidFill>
                <a:srgbClr val="787878"/>
              </a:solidFill>
              <a:latin typeface="Lufthansa Office Head"/>
            </a:endParaRPr>
          </a:p>
        </p:txBody>
      </p:sp>
      <p:sp>
        <p:nvSpPr>
          <p:cNvPr id="7" name="Footer Placeholder 6">
            <a:extLst>
              <a:ext uri="{FF2B5EF4-FFF2-40B4-BE49-F238E27FC236}">
                <a16:creationId xmlns:a16="http://schemas.microsoft.com/office/drawing/2014/main" id="{E34BB963-B8F0-7A19-C7D6-6B181B70B692}"/>
              </a:ext>
            </a:extLst>
          </p:cNvPr>
          <p:cNvSpPr>
            <a:spLocks noGrp="1"/>
          </p:cNvSpPr>
          <p:nvPr>
            <p:ph type="ftr" sz="quarter" idx="11"/>
          </p:nvPr>
        </p:nvSpPr>
        <p:spPr/>
        <p:txBody>
          <a:bodyPr/>
          <a:lstStyle/>
          <a:p>
            <a:pPr defTabSz="1219170">
              <a:defRPr/>
            </a:pPr>
            <a:r>
              <a:rPr lang="en-US" sz="800" b="1">
                <a:solidFill>
                  <a:srgbClr val="787878"/>
                </a:solidFill>
                <a:latin typeface="Lufthansa Office Head"/>
              </a:rPr>
              <a:t>APMWG</a:t>
            </a:r>
          </a:p>
        </p:txBody>
      </p:sp>
      <p:sp>
        <p:nvSpPr>
          <p:cNvPr id="9" name="Slide Number Placeholder 8">
            <a:extLst>
              <a:ext uri="{FF2B5EF4-FFF2-40B4-BE49-F238E27FC236}">
                <a16:creationId xmlns:a16="http://schemas.microsoft.com/office/drawing/2014/main" id="{2E84159C-6B4C-2765-C8F1-FF81D6E8CC65}"/>
              </a:ext>
            </a:extLst>
          </p:cNvPr>
          <p:cNvSpPr>
            <a:spLocks noGrp="1"/>
          </p:cNvSpPr>
          <p:nvPr>
            <p:ph type="sldNum" sz="quarter" idx="12"/>
          </p:nvPr>
        </p:nvSpPr>
        <p:spPr/>
        <p:txBody>
          <a:bodyPr/>
          <a:lstStyle/>
          <a:p>
            <a:pPr defTabSz="1219170">
              <a:defRPr/>
            </a:pPr>
            <a:r>
              <a:rPr lang="en-US" sz="800">
                <a:solidFill>
                  <a:srgbClr val="787878"/>
                </a:solidFill>
                <a:latin typeface="Lufthansa Office Head"/>
              </a:rPr>
              <a:t>Page </a:t>
            </a:r>
            <a:fld id="{67242389-55B8-40B0-97B3-D8452A5F367E}" type="slidenum">
              <a:rPr lang="en-US" sz="800">
                <a:solidFill>
                  <a:srgbClr val="787878"/>
                </a:solidFill>
                <a:latin typeface="Lufthansa Office Head"/>
              </a:rPr>
              <a:pPr defTabSz="1219170">
                <a:defRPr/>
              </a:pPr>
              <a:t>20</a:t>
            </a:fld>
            <a:endParaRPr lang="en-US" sz="800">
              <a:solidFill>
                <a:srgbClr val="787878"/>
              </a:solidFill>
              <a:latin typeface="Lufthansa Office Head"/>
            </a:endParaRPr>
          </a:p>
        </p:txBody>
      </p:sp>
      <p:pic>
        <p:nvPicPr>
          <p:cNvPr id="3" name="Picture 2">
            <a:extLst>
              <a:ext uri="{FF2B5EF4-FFF2-40B4-BE49-F238E27FC236}">
                <a16:creationId xmlns:a16="http://schemas.microsoft.com/office/drawing/2014/main" id="{39B06236-EAAA-BA67-15EB-05B8735681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6868" y="1710267"/>
            <a:ext cx="4641314" cy="4254538"/>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 11">
            <a:extLst>
              <a:ext uri="{FF2B5EF4-FFF2-40B4-BE49-F238E27FC236}">
                <a16:creationId xmlns:a16="http://schemas.microsoft.com/office/drawing/2014/main" id="{DC88ACC0-D969-DEED-B31C-4269F1BBD469}"/>
              </a:ext>
            </a:extLst>
          </p:cNvPr>
          <p:cNvPicPr>
            <a:picLocks noChangeAspect="1"/>
          </p:cNvPicPr>
          <p:nvPr/>
        </p:nvPicPr>
        <p:blipFill>
          <a:blip r:embed="rId6"/>
          <a:stretch>
            <a:fillRect/>
          </a:stretch>
        </p:blipFill>
        <p:spPr>
          <a:xfrm>
            <a:off x="5794283" y="1480288"/>
            <a:ext cx="5138807" cy="4484517"/>
          </a:xfrm>
          <a:prstGeom prst="rect">
            <a:avLst/>
          </a:prstGeom>
        </p:spPr>
      </p:pic>
    </p:spTree>
    <p:extLst>
      <p:ext uri="{BB962C8B-B14F-4D97-AF65-F5344CB8AC3E}">
        <p14:creationId xmlns:p14="http://schemas.microsoft.com/office/powerpoint/2010/main" val="238418908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27298-23C2-0CDD-95A8-5692E60F045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97B17D4-1BB2-16C7-86E0-575AFEAB8249}"/>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597B17D4-1BB2-16C7-86E0-575AFEAB82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5EBA90-BF79-031F-E1BE-64CFF07C2BE6}"/>
              </a:ext>
            </a:extLst>
          </p:cNvPr>
          <p:cNvSpPr>
            <a:spLocks noGrp="1"/>
          </p:cNvSpPr>
          <p:nvPr>
            <p:ph type="title"/>
          </p:nvPr>
        </p:nvSpPr>
        <p:spPr/>
        <p:txBody>
          <a:bodyPr vert="horz"/>
          <a:lstStyle/>
          <a:p>
            <a:r>
              <a:rPr lang="en-US"/>
              <a:t>Business </a:t>
            </a:r>
            <a:r>
              <a:rPr lang="en-US" err="1"/>
              <a:t>Proces</a:t>
            </a:r>
            <a:r>
              <a:rPr lang="en-US"/>
              <a:t> Design</a:t>
            </a:r>
          </a:p>
        </p:txBody>
      </p:sp>
      <p:pic>
        <p:nvPicPr>
          <p:cNvPr id="3" name="Picture 4" descr="Vue de dessus des cubes reliés par des lignes noires">
            <a:extLst>
              <a:ext uri="{FF2B5EF4-FFF2-40B4-BE49-F238E27FC236}">
                <a16:creationId xmlns:a16="http://schemas.microsoft.com/office/drawing/2014/main" id="{08CB12B8-B3AB-DBA2-F986-719AE149BEDE}"/>
              </a:ext>
            </a:extLst>
          </p:cNvPr>
          <p:cNvPicPr>
            <a:picLocks noChangeAspect="1"/>
          </p:cNvPicPr>
          <p:nvPr/>
        </p:nvPicPr>
        <p:blipFill>
          <a:blip r:embed="rId5"/>
          <a:srcRect l="26794" r="16872"/>
          <a:stretch>
            <a:fillRect/>
          </a:stretch>
        </p:blipFill>
        <p:spPr>
          <a:xfrm>
            <a:off x="382179" y="1512721"/>
            <a:ext cx="3439111" cy="4578639"/>
          </a:xfrm>
          <a:prstGeom prst="rect">
            <a:avLst/>
          </a:prstGeom>
        </p:spPr>
      </p:pic>
      <p:sp>
        <p:nvSpPr>
          <p:cNvPr id="5" name="Espace réservé du contenu 2">
            <a:extLst>
              <a:ext uri="{FF2B5EF4-FFF2-40B4-BE49-F238E27FC236}">
                <a16:creationId xmlns:a16="http://schemas.microsoft.com/office/drawing/2014/main" id="{D596BCCA-AC77-4D37-3538-0A74FBF88E21}"/>
              </a:ext>
            </a:extLst>
          </p:cNvPr>
          <p:cNvSpPr txBox="1">
            <a:spLocks/>
          </p:cNvSpPr>
          <p:nvPr/>
        </p:nvSpPr>
        <p:spPr>
          <a:xfrm>
            <a:off x="3979334" y="1512721"/>
            <a:ext cx="5098207" cy="5262999"/>
          </a:xfrm>
          <a:prstGeom prst="rect">
            <a:avLst/>
          </a:prstGeom>
        </p:spPr>
        <p:txBody>
          <a:bodyPr>
            <a:normAutofit/>
          </a:bodyPr>
          <a:lstStyle>
            <a:lvl1pPr marL="0" indent="0" algn="l" defTabSz="914400" rtl="0" eaLnBrk="1" latinLnBrk="0" hangingPunct="1">
              <a:spcBef>
                <a:spcPts val="600"/>
              </a:spcBef>
              <a:spcAft>
                <a:spcPts val="0"/>
              </a:spcAft>
              <a:buSzPct val="90000"/>
              <a:buFont typeface="Wingdings" panose="05000000000000000000" pitchFamily="2" charset="2"/>
              <a:buNone/>
              <a:defRPr sz="1400" kern="1200">
                <a:solidFill>
                  <a:schemeClr val="tx1"/>
                </a:solidFill>
                <a:latin typeface="+mn-lt"/>
                <a:ea typeface="+mn-ea"/>
                <a:cs typeface="+mn-cs"/>
              </a:defRPr>
            </a:lvl1pPr>
            <a:lvl2pPr marL="180975" indent="-180975" algn="l" defTabSz="914400" rtl="0" eaLnBrk="1" latinLnBrk="0" hangingPunct="1">
              <a:spcBef>
                <a:spcPts val="600"/>
              </a:spcBef>
              <a:spcAft>
                <a:spcPts val="0"/>
              </a:spcAft>
              <a:buSzPct val="90000"/>
              <a:buFont typeface="Wingdings" panose="05000000000000000000" pitchFamily="2" charset="2"/>
              <a:buChar char="§"/>
              <a:defRPr sz="1400" kern="1200">
                <a:solidFill>
                  <a:schemeClr val="tx1"/>
                </a:solidFill>
                <a:latin typeface="+mn-lt"/>
                <a:ea typeface="+mn-ea"/>
                <a:cs typeface="+mn-cs"/>
              </a:defRPr>
            </a:lvl2pPr>
            <a:lvl3pPr marL="357188" indent="-176213" algn="l" defTabSz="914400" rtl="0" eaLnBrk="1" latinLnBrk="0" hangingPunct="1">
              <a:spcBef>
                <a:spcPts val="600"/>
              </a:spcBef>
              <a:spcAft>
                <a:spcPts val="0"/>
              </a:spcAft>
              <a:buSzPct val="90000"/>
              <a:buFont typeface="Wingdings" panose="05000000000000000000" pitchFamily="2" charset="2"/>
              <a:buChar char="§"/>
              <a:defRPr sz="1400" kern="1200">
                <a:solidFill>
                  <a:schemeClr val="tx1"/>
                </a:solidFill>
                <a:latin typeface="+mn-lt"/>
                <a:ea typeface="+mn-ea"/>
                <a:cs typeface="+mn-cs"/>
              </a:defRPr>
            </a:lvl3pPr>
            <a:lvl4pPr marL="538163" indent="-180975" algn="l" defTabSz="914400" rtl="0" eaLnBrk="1" latinLnBrk="0" hangingPunct="1">
              <a:spcBef>
                <a:spcPts val="600"/>
              </a:spcBef>
              <a:spcAft>
                <a:spcPts val="0"/>
              </a:spcAft>
              <a:buSzPct val="90000"/>
              <a:buFont typeface="Wingdings" panose="05000000000000000000" pitchFamily="2" charset="2"/>
              <a:buChar char="§"/>
              <a:defRPr sz="1400" kern="1200">
                <a:solidFill>
                  <a:schemeClr val="tx1"/>
                </a:solidFill>
                <a:latin typeface="+mn-lt"/>
                <a:ea typeface="+mn-ea"/>
                <a:cs typeface="+mn-cs"/>
              </a:defRPr>
            </a:lvl4pPr>
            <a:lvl5pPr marL="719138" indent="-180975" algn="l" defTabSz="914400" rtl="0" eaLnBrk="1" latinLnBrk="0" hangingPunct="1">
              <a:spcBef>
                <a:spcPts val="600"/>
              </a:spcBef>
              <a:spcAft>
                <a:spcPts val="0"/>
              </a:spcAft>
              <a:buSzPct val="90000"/>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solidFill>
                  <a:schemeClr val="tx2"/>
                </a:solidFill>
                <a:latin typeface="+mj-lt"/>
              </a:rPr>
              <a:t>Value Chain</a:t>
            </a:r>
          </a:p>
          <a:p>
            <a:pPr lvl="1"/>
            <a:r>
              <a:rPr lang="en-US" dirty="0"/>
              <a:t>Enabling a retailer to market, offer and sell products from one or more suppliers </a:t>
            </a:r>
          </a:p>
          <a:p>
            <a:pPr lvl="1"/>
            <a:endParaRPr lang="en-US" b="1" dirty="0">
              <a:latin typeface="+mj-lt"/>
            </a:endParaRPr>
          </a:p>
          <a:p>
            <a:r>
              <a:rPr lang="en-US" sz="1600" b="1" dirty="0">
                <a:solidFill>
                  <a:schemeClr val="tx2"/>
                </a:solidFill>
                <a:latin typeface="+mj-lt"/>
              </a:rPr>
              <a:t>Business Processes enabling the Value Chain</a:t>
            </a:r>
          </a:p>
          <a:p>
            <a:pPr lvl="1"/>
            <a:r>
              <a:rPr lang="en-US" dirty="0"/>
              <a:t>Such as : </a:t>
            </a:r>
          </a:p>
          <a:p>
            <a:pPr lvl="2"/>
            <a:r>
              <a:rPr lang="en-US" dirty="0"/>
              <a:t>Enter into Agreement </a:t>
            </a:r>
            <a:r>
              <a:rPr lang="en-US" dirty="0">
                <a:sym typeface="Wingdings" pitchFamily="2" charset="2"/>
              </a:rPr>
              <a:t></a:t>
            </a:r>
            <a:endParaRPr lang="en-US" dirty="0"/>
          </a:p>
          <a:p>
            <a:pPr lvl="2"/>
            <a:r>
              <a:rPr lang="en-US" dirty="0"/>
              <a:t>Product Management </a:t>
            </a:r>
            <a:r>
              <a:rPr lang="en-US" dirty="0">
                <a:sym typeface="Wingdings" pitchFamily="2" charset="2"/>
              </a:rPr>
              <a:t></a:t>
            </a:r>
            <a:endParaRPr lang="en-US" dirty="0"/>
          </a:p>
          <a:p>
            <a:pPr lvl="2"/>
            <a:r>
              <a:rPr lang="en-US" dirty="0"/>
              <a:t>Supplier Offer </a:t>
            </a:r>
            <a:r>
              <a:rPr lang="en-US" dirty="0">
                <a:sym typeface="Wingdings" pitchFamily="2" charset="2"/>
              </a:rPr>
              <a:t></a:t>
            </a:r>
            <a:endParaRPr lang="en-US" dirty="0"/>
          </a:p>
          <a:p>
            <a:pPr lvl="2"/>
            <a:r>
              <a:rPr lang="en-US" dirty="0"/>
              <a:t>Supplier Order</a:t>
            </a:r>
          </a:p>
          <a:p>
            <a:pPr lvl="2"/>
            <a:r>
              <a:rPr lang="en-US" dirty="0"/>
              <a:t>Manage Delivery </a:t>
            </a:r>
          </a:p>
          <a:p>
            <a:pPr marL="914377" lvl="2" indent="0">
              <a:buNone/>
            </a:pPr>
            <a:endParaRPr lang="en-US" sz="1000" dirty="0">
              <a:latin typeface="+mj-lt"/>
            </a:endParaRPr>
          </a:p>
        </p:txBody>
      </p:sp>
      <p:sp>
        <p:nvSpPr>
          <p:cNvPr id="22" name="Date Placeholder 21">
            <a:extLst>
              <a:ext uri="{FF2B5EF4-FFF2-40B4-BE49-F238E27FC236}">
                <a16:creationId xmlns:a16="http://schemas.microsoft.com/office/drawing/2014/main" id="{366148C0-1333-FC1F-9663-7E2E2E90E6FA}"/>
              </a:ext>
            </a:extLst>
          </p:cNvPr>
          <p:cNvSpPr>
            <a:spLocks noGrp="1"/>
          </p:cNvSpPr>
          <p:nvPr>
            <p:ph type="dt" sz="half" idx="10"/>
          </p:nvPr>
        </p:nvSpPr>
        <p:spPr/>
        <p:txBody>
          <a:bodyPr/>
          <a:lstStyle/>
          <a:p>
            <a:r>
              <a:rPr lang="de-DE" noProof="0"/>
              <a:t>02 November 2025</a:t>
            </a:r>
            <a:endParaRPr lang="en-US" noProof="0"/>
          </a:p>
        </p:txBody>
      </p:sp>
      <p:sp>
        <p:nvSpPr>
          <p:cNvPr id="23" name="Footer Placeholder 22">
            <a:extLst>
              <a:ext uri="{FF2B5EF4-FFF2-40B4-BE49-F238E27FC236}">
                <a16:creationId xmlns:a16="http://schemas.microsoft.com/office/drawing/2014/main" id="{DAE7A635-57AD-95FA-FEC5-6A3E07C70A92}"/>
              </a:ext>
            </a:extLst>
          </p:cNvPr>
          <p:cNvSpPr>
            <a:spLocks noGrp="1"/>
          </p:cNvSpPr>
          <p:nvPr>
            <p:ph type="ftr" sz="quarter" idx="11"/>
          </p:nvPr>
        </p:nvSpPr>
        <p:spPr/>
        <p:txBody>
          <a:bodyPr/>
          <a:lstStyle/>
          <a:p>
            <a:r>
              <a:rPr lang="en-US" noProof="0"/>
              <a:t>APMWG</a:t>
            </a:r>
          </a:p>
        </p:txBody>
      </p:sp>
      <p:sp>
        <p:nvSpPr>
          <p:cNvPr id="24" name="Slide Number Placeholder 23">
            <a:extLst>
              <a:ext uri="{FF2B5EF4-FFF2-40B4-BE49-F238E27FC236}">
                <a16:creationId xmlns:a16="http://schemas.microsoft.com/office/drawing/2014/main" id="{A7B7A183-432D-C88C-FFFB-58049988CCA3}"/>
              </a:ext>
            </a:extLst>
          </p:cNvPr>
          <p:cNvSpPr>
            <a:spLocks noGrp="1"/>
          </p:cNvSpPr>
          <p:nvPr>
            <p:ph type="sldNum" sz="quarter" idx="12"/>
          </p:nvPr>
        </p:nvSpPr>
        <p:spPr/>
        <p:txBody>
          <a:bodyPr/>
          <a:lstStyle/>
          <a:p>
            <a:fld id="{67242389-55B8-40B0-97B3-D8452A5F367E}" type="slidenum">
              <a:rPr lang="en-US" noProof="0" smtClean="0"/>
              <a:pPr/>
              <a:t>21</a:t>
            </a:fld>
            <a:endParaRPr lang="en-US" noProof="0" dirty="0"/>
          </a:p>
        </p:txBody>
      </p:sp>
    </p:spTree>
    <p:extLst>
      <p:ext uri="{BB962C8B-B14F-4D97-AF65-F5344CB8AC3E}">
        <p14:creationId xmlns:p14="http://schemas.microsoft.com/office/powerpoint/2010/main" val="157377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7CFBBF-B4E9-C147-73D3-D83E36D66E75}"/>
            </a:ext>
          </a:extLst>
        </p:cNvPr>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40201C2-8FA9-E5F1-25B6-17D254AB9F2E}"/>
              </a:ext>
            </a:extLst>
          </p:cNvPr>
          <p:cNvSpPr>
            <a:spLocks noGrp="1"/>
          </p:cNvSpPr>
          <p:nvPr>
            <p:ph idx="1"/>
          </p:nvPr>
        </p:nvSpPr>
        <p:spPr>
          <a:xfrm>
            <a:off x="474663" y="1287152"/>
            <a:ext cx="10515600" cy="5262998"/>
          </a:xfrm>
        </p:spPr>
        <p:txBody>
          <a:bodyPr>
            <a:normAutofit/>
          </a:bodyPr>
          <a:lstStyle/>
          <a:p>
            <a:r>
              <a:rPr lang="en-US" sz="2000" b="1" dirty="0">
                <a:solidFill>
                  <a:schemeClr val="accent1"/>
                </a:solidFill>
                <a:cs typeface="Arial" panose="020B0604020202020204" pitchFamily="34" charset="0"/>
              </a:rPr>
              <a:t>Level 2 : Enter into Agreement</a:t>
            </a:r>
            <a:endParaRPr lang="en-US" sz="2000" b="1" dirty="0">
              <a:solidFill>
                <a:schemeClr val="accent1"/>
              </a:solidFill>
              <a:cs typeface="Arial" panose="020B0604020202020204" pitchFamily="34" charset="0"/>
              <a:sym typeface="Wingdings" pitchFamily="2" charset="2"/>
            </a:endParaRPr>
          </a:p>
          <a:p>
            <a:pPr lvl="1"/>
            <a:r>
              <a:rPr lang="en-US" sz="1600" dirty="0">
                <a:cs typeface="Arial" panose="020B0604020202020204" pitchFamily="34" charset="0"/>
                <a:sym typeface="Wingdings" pitchFamily="2" charset="2"/>
              </a:rPr>
              <a:t>Level 3 Create -&gt; Execute -&gt; Maintain</a:t>
            </a:r>
          </a:p>
          <a:p>
            <a:pPr lvl="2"/>
            <a:r>
              <a:rPr lang="en-US" sz="1200" dirty="0">
                <a:cs typeface="Arial" panose="020B0604020202020204" pitchFamily="34" charset="0"/>
                <a:sym typeface="Wingdings" pitchFamily="2" charset="2"/>
              </a:rPr>
              <a:t>Level 4 : Select set of products to be retailed by Retailer </a:t>
            </a:r>
          </a:p>
          <a:p>
            <a:pPr lvl="2"/>
            <a:r>
              <a:rPr lang="en-US" sz="1200" dirty="0">
                <a:cs typeface="Arial" panose="020B0604020202020204" pitchFamily="34" charset="0"/>
                <a:sym typeface="Wingdings" pitchFamily="2" charset="2"/>
              </a:rPr>
              <a:t>Level 4 : Align/extend Product Schemas </a:t>
            </a:r>
          </a:p>
          <a:p>
            <a:pPr lvl="2"/>
            <a:r>
              <a:rPr lang="en-US" sz="1200" dirty="0">
                <a:cs typeface="Arial" panose="020B0604020202020204" pitchFamily="34" charset="0"/>
                <a:sym typeface="Wingdings" pitchFamily="2" charset="2"/>
              </a:rPr>
              <a:t>Level 4: Align/extend Taxonomy</a:t>
            </a:r>
          </a:p>
          <a:p>
            <a:r>
              <a:rPr lang="en-US" sz="2000" b="1" dirty="0">
                <a:solidFill>
                  <a:schemeClr val="accent1"/>
                </a:solidFill>
                <a:cs typeface="Arial" panose="020B0604020202020204" pitchFamily="34" charset="0"/>
              </a:rPr>
              <a:t>Level 2: Product Management</a:t>
            </a:r>
            <a:endParaRPr lang="en-US" sz="2000" b="1" dirty="0">
              <a:solidFill>
                <a:schemeClr val="accent1"/>
              </a:solidFill>
              <a:cs typeface="Arial" panose="020B0604020202020204" pitchFamily="34" charset="0"/>
              <a:sym typeface="Wingdings" pitchFamily="2" charset="2"/>
            </a:endParaRPr>
          </a:p>
          <a:p>
            <a:pPr lvl="1"/>
            <a:r>
              <a:rPr lang="en-US" sz="1600" dirty="0">
                <a:cs typeface="Arial" panose="020B0604020202020204" pitchFamily="34" charset="0"/>
                <a:sym typeface="Wingdings" pitchFamily="2" charset="2"/>
              </a:rPr>
              <a:t>Level 3 : </a:t>
            </a:r>
            <a:r>
              <a:rPr lang="en-US" sz="1600" dirty="0">
                <a:cs typeface="Arial" panose="020B0604020202020204" pitchFamily="34" charset="0"/>
              </a:rPr>
              <a:t>Supplier : create initial supplier catalog artefacts ( schema, </a:t>
            </a:r>
            <a:r>
              <a:rPr lang="en-US" sz="1600" dirty="0" err="1">
                <a:cs typeface="Arial" panose="020B0604020202020204" pitchFamily="34" charset="0"/>
              </a:rPr>
              <a:t>taxonomie</a:t>
            </a:r>
            <a:r>
              <a:rPr lang="en-US" sz="1600" dirty="0">
                <a:cs typeface="Arial" panose="020B0604020202020204" pitchFamily="34" charset="0"/>
              </a:rPr>
              <a:t> , products, … )</a:t>
            </a:r>
          </a:p>
          <a:p>
            <a:pPr lvl="1"/>
            <a:r>
              <a:rPr lang="en-US" sz="1600" dirty="0">
                <a:cs typeface="Arial" panose="020B0604020202020204" pitchFamily="34" charset="0"/>
              </a:rPr>
              <a:t>Level 3 send supplier catalog artefacts to retailer(s)</a:t>
            </a:r>
          </a:p>
          <a:p>
            <a:pPr lvl="2"/>
            <a:r>
              <a:rPr lang="en-US" sz="1200" dirty="0">
                <a:cs typeface="Arial" panose="020B0604020202020204" pitchFamily="34" charset="0"/>
              </a:rPr>
              <a:t>Level 4: Serialize -&gt; Package -&gt; Send</a:t>
            </a:r>
          </a:p>
          <a:p>
            <a:pPr lvl="2"/>
            <a:r>
              <a:rPr lang="en-US" sz="1200" dirty="0">
                <a:cs typeface="Arial" panose="020B0604020202020204" pitchFamily="34" charset="0"/>
              </a:rPr>
              <a:t>Level 4: Receive -&gt; Unpack -&gt; Deserialize</a:t>
            </a:r>
          </a:p>
          <a:p>
            <a:pPr lvl="1"/>
            <a:r>
              <a:rPr lang="en-US" sz="1600" dirty="0">
                <a:cs typeface="Arial" panose="020B0604020202020204" pitchFamily="34" charset="0"/>
              </a:rPr>
              <a:t>Level 3 status change on any artefact -&gt; maintain(s) catalog / send delta to retailer </a:t>
            </a:r>
          </a:p>
          <a:p>
            <a:pPr lvl="1"/>
            <a:r>
              <a:rPr lang="en-US" sz="1600" b="1" dirty="0">
                <a:cs typeface="Arial" panose="020B0604020202020204" pitchFamily="34" charset="0"/>
              </a:rPr>
              <a:t>….  </a:t>
            </a:r>
          </a:p>
          <a:p>
            <a:pPr marL="457200" lvl="1" indent="0">
              <a:buNone/>
            </a:pPr>
            <a:r>
              <a:rPr lang="en-US" sz="1600" b="1" dirty="0">
                <a:cs typeface="Arial" panose="020B0604020202020204" pitchFamily="34" charset="0"/>
                <a:sym typeface="Wingdings" pitchFamily="2" charset="2"/>
              </a:rPr>
              <a:t></a:t>
            </a:r>
            <a:r>
              <a:rPr lang="en-US" sz="1600" dirty="0">
                <a:cs typeface="Arial" panose="020B0604020202020204" pitchFamily="34" charset="0"/>
              </a:rPr>
              <a:t>The </a:t>
            </a:r>
            <a:r>
              <a:rPr lang="en-US" sz="1600" b="1" dirty="0">
                <a:cs typeface="Arial" panose="020B0604020202020204" pitchFamily="34" charset="0"/>
              </a:rPr>
              <a:t>full process design </a:t>
            </a:r>
            <a:r>
              <a:rPr lang="en-US" sz="1600" dirty="0">
                <a:cs typeface="Arial" panose="020B0604020202020204" pitchFamily="34" charset="0"/>
              </a:rPr>
              <a:t>from </a:t>
            </a:r>
            <a:r>
              <a:rPr lang="en-US" sz="1600" b="1" dirty="0">
                <a:cs typeface="Arial" panose="020B0604020202020204" pitchFamily="34" charset="0"/>
              </a:rPr>
              <a:t>a business perspective</a:t>
            </a:r>
          </a:p>
          <a:p>
            <a:r>
              <a:rPr lang="en-US" sz="1900" b="1" dirty="0">
                <a:solidFill>
                  <a:schemeClr val="accent1"/>
                </a:solidFill>
                <a:cs typeface="Arial" panose="020B0604020202020204" pitchFamily="34" charset="0"/>
              </a:rPr>
              <a:t>Level 2: Supplier Offer </a:t>
            </a:r>
            <a:endParaRPr lang="en-US" sz="1900" b="1" dirty="0">
              <a:solidFill>
                <a:schemeClr val="accent1"/>
              </a:solidFill>
              <a:cs typeface="Arial" panose="020B0604020202020204" pitchFamily="34" charset="0"/>
              <a:sym typeface="Wingdings" pitchFamily="2" charset="2"/>
            </a:endParaRPr>
          </a:p>
          <a:p>
            <a:pPr lvl="1"/>
            <a:r>
              <a:rPr lang="en-US" sz="1500" dirty="0">
                <a:cs typeface="Arial" panose="020B0604020202020204" pitchFamily="34" charset="0"/>
                <a:sym typeface="Wingdings" pitchFamily="2" charset="2"/>
              </a:rPr>
              <a:t>Usage of the Product Catalog to request offers from a supplier for all products which are under stock/pricing and delivery control by the supplier.</a:t>
            </a:r>
          </a:p>
          <a:p>
            <a:pPr marL="457200" lvl="1" indent="0">
              <a:buNone/>
            </a:pPr>
            <a:r>
              <a:rPr lang="en-US" sz="1500" b="1" dirty="0">
                <a:cs typeface="Arial" panose="020B0604020202020204" pitchFamily="34" charset="0"/>
                <a:sym typeface="Wingdings" pitchFamily="2" charset="2"/>
              </a:rPr>
              <a:t> E2E group </a:t>
            </a:r>
          </a:p>
        </p:txBody>
      </p:sp>
      <p:sp>
        <p:nvSpPr>
          <p:cNvPr id="5" name="ZoneTexte 4">
            <a:extLst>
              <a:ext uri="{FF2B5EF4-FFF2-40B4-BE49-F238E27FC236}">
                <a16:creationId xmlns:a16="http://schemas.microsoft.com/office/drawing/2014/main" id="{54B47840-70F1-752E-F467-7F7C93E1D245}"/>
              </a:ext>
            </a:extLst>
          </p:cNvPr>
          <p:cNvSpPr txBox="1"/>
          <p:nvPr/>
        </p:nvSpPr>
        <p:spPr>
          <a:xfrm>
            <a:off x="7141379" y="-39376"/>
            <a:ext cx="5050621" cy="646331"/>
          </a:xfrm>
          <a:prstGeom prst="rect">
            <a:avLst/>
          </a:prstGeom>
          <a:solidFill>
            <a:schemeClr val="accent2"/>
          </a:solidFill>
        </p:spPr>
        <p:txBody>
          <a:bodyPr wrap="square" rtlCol="0">
            <a:spAutoFit/>
          </a:bodyPr>
          <a:lstStyle/>
          <a:p>
            <a:r>
              <a:rPr lang="en-US" b="1" dirty="0"/>
              <a:t>Expected outcome: Full business process description as the basis for implementation</a:t>
            </a:r>
          </a:p>
        </p:txBody>
      </p:sp>
      <p:sp>
        <p:nvSpPr>
          <p:cNvPr id="2" name="Title 1">
            <a:extLst>
              <a:ext uri="{FF2B5EF4-FFF2-40B4-BE49-F238E27FC236}">
                <a16:creationId xmlns:a16="http://schemas.microsoft.com/office/drawing/2014/main" id="{1B3C563E-B41B-5564-A806-E48B1417B007}"/>
              </a:ext>
            </a:extLst>
          </p:cNvPr>
          <p:cNvSpPr txBox="1">
            <a:spLocks noGrp="1"/>
          </p:cNvSpPr>
          <p:nvPr>
            <p:ph type="title"/>
          </p:nvPr>
        </p:nvSpPr>
        <p:spPr>
          <a:xfrm>
            <a:off x="474663" y="319088"/>
            <a:ext cx="10445750" cy="6096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accent1"/>
                </a:solidFill>
                <a:latin typeface="+mn-lt"/>
                <a:ea typeface="+mj-ea"/>
                <a:cs typeface="+mj-cs"/>
              </a:defRPr>
            </a:lvl1pPr>
          </a:lstStyle>
          <a:p>
            <a:r>
              <a:rPr lang="en-IN" dirty="0"/>
              <a:t>Business Process Design</a:t>
            </a:r>
          </a:p>
        </p:txBody>
      </p:sp>
      <p:sp>
        <p:nvSpPr>
          <p:cNvPr id="4" name="Date Placeholder 3">
            <a:extLst>
              <a:ext uri="{FF2B5EF4-FFF2-40B4-BE49-F238E27FC236}">
                <a16:creationId xmlns:a16="http://schemas.microsoft.com/office/drawing/2014/main" id="{5200CA97-6B36-DC15-C5D6-E6356E0329BA}"/>
              </a:ext>
            </a:extLst>
          </p:cNvPr>
          <p:cNvSpPr>
            <a:spLocks noGrp="1"/>
          </p:cNvSpPr>
          <p:nvPr>
            <p:ph type="dt" sz="half" idx="10"/>
          </p:nvPr>
        </p:nvSpPr>
        <p:spPr/>
        <p:txBody>
          <a:bodyPr/>
          <a:lstStyle/>
          <a:p>
            <a:r>
              <a:rPr lang="de-DE"/>
              <a:t>02 November 2025</a:t>
            </a:r>
            <a:endParaRPr lang="en-US"/>
          </a:p>
        </p:txBody>
      </p:sp>
      <p:sp>
        <p:nvSpPr>
          <p:cNvPr id="6" name="Footer Placeholder 5">
            <a:extLst>
              <a:ext uri="{FF2B5EF4-FFF2-40B4-BE49-F238E27FC236}">
                <a16:creationId xmlns:a16="http://schemas.microsoft.com/office/drawing/2014/main" id="{27FAADDC-1AEE-E546-69A9-51133663FF7F}"/>
              </a:ext>
            </a:extLst>
          </p:cNvPr>
          <p:cNvSpPr>
            <a:spLocks noGrp="1"/>
          </p:cNvSpPr>
          <p:nvPr>
            <p:ph type="ftr" sz="quarter" idx="11"/>
          </p:nvPr>
        </p:nvSpPr>
        <p:spPr/>
        <p:txBody>
          <a:bodyPr/>
          <a:lstStyle/>
          <a:p>
            <a:r>
              <a:rPr lang="en-US"/>
              <a:t>APMWG</a:t>
            </a:r>
          </a:p>
        </p:txBody>
      </p:sp>
      <p:sp>
        <p:nvSpPr>
          <p:cNvPr id="7" name="Slide Number Placeholder 6">
            <a:extLst>
              <a:ext uri="{FF2B5EF4-FFF2-40B4-BE49-F238E27FC236}">
                <a16:creationId xmlns:a16="http://schemas.microsoft.com/office/drawing/2014/main" id="{D6CB4171-475D-52A6-A19D-80776C33EF82}"/>
              </a:ext>
            </a:extLst>
          </p:cNvPr>
          <p:cNvSpPr>
            <a:spLocks noGrp="1"/>
          </p:cNvSpPr>
          <p:nvPr>
            <p:ph type="sldNum" sz="quarter" idx="12"/>
          </p:nvPr>
        </p:nvSpPr>
        <p:spPr/>
        <p:txBody>
          <a:bodyPr/>
          <a:lstStyle/>
          <a:p>
            <a:fld id="{1A9E565A-6679-4A67-8FB7-14EA342FD6E1}" type="slidenum">
              <a:rPr lang="en-US" smtClean="0"/>
              <a:pPr/>
              <a:t>22</a:t>
            </a:fld>
            <a:endParaRPr lang="en-US"/>
          </a:p>
        </p:txBody>
      </p:sp>
    </p:spTree>
    <p:extLst>
      <p:ext uri="{BB962C8B-B14F-4D97-AF65-F5344CB8AC3E}">
        <p14:creationId xmlns:p14="http://schemas.microsoft.com/office/powerpoint/2010/main" val="23566185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CDC3FFB-42CF-6A73-D899-692E84F1F830}"/>
              </a:ext>
            </a:extLst>
          </p:cNvPr>
          <p:cNvSpPr>
            <a:spLocks noGrp="1"/>
          </p:cNvSpPr>
          <p:nvPr>
            <p:ph type="title"/>
          </p:nvPr>
        </p:nvSpPr>
        <p:spPr/>
        <p:txBody>
          <a:bodyPr/>
          <a:lstStyle/>
          <a:p>
            <a:r>
              <a:rPr lang="de-CH" dirty="0" err="1"/>
              <a:t>Why</a:t>
            </a:r>
            <a:r>
              <a:rPr lang="de-CH" dirty="0"/>
              <a:t> </a:t>
            </a:r>
            <a:r>
              <a:rPr lang="de-CH" dirty="0" err="1"/>
              <a:t>Product</a:t>
            </a:r>
            <a:r>
              <a:rPr lang="de-CH" dirty="0"/>
              <a:t> Management Matters</a:t>
            </a:r>
            <a:endParaRPr lang="en-US" dirty="0"/>
          </a:p>
        </p:txBody>
      </p:sp>
      <p:sp>
        <p:nvSpPr>
          <p:cNvPr id="4" name="Date Placeholder 3">
            <a:extLst>
              <a:ext uri="{FF2B5EF4-FFF2-40B4-BE49-F238E27FC236}">
                <a16:creationId xmlns:a16="http://schemas.microsoft.com/office/drawing/2014/main" id="{7C81F8A1-A2FA-9C5D-A959-3628B1DEE297}"/>
              </a:ext>
            </a:extLst>
          </p:cNvPr>
          <p:cNvSpPr>
            <a:spLocks noGrp="1"/>
          </p:cNvSpPr>
          <p:nvPr>
            <p:ph type="dt" sz="half" idx="10"/>
          </p:nvPr>
        </p:nvSpPr>
        <p:spPr/>
        <p:txBody>
          <a:bodyPr/>
          <a:lstStyle/>
          <a:p>
            <a:r>
              <a:rPr lang="de-DE"/>
              <a:t>02 November 2025</a:t>
            </a:r>
            <a:endParaRPr lang="en-US"/>
          </a:p>
        </p:txBody>
      </p:sp>
      <p:sp>
        <p:nvSpPr>
          <p:cNvPr id="5" name="Footer Placeholder 4">
            <a:extLst>
              <a:ext uri="{FF2B5EF4-FFF2-40B4-BE49-F238E27FC236}">
                <a16:creationId xmlns:a16="http://schemas.microsoft.com/office/drawing/2014/main" id="{80B24524-1BFE-2231-24E3-7AD48EA77EB8}"/>
              </a:ext>
            </a:extLst>
          </p:cNvPr>
          <p:cNvSpPr>
            <a:spLocks noGrp="1"/>
          </p:cNvSpPr>
          <p:nvPr>
            <p:ph type="ftr" sz="quarter" idx="11"/>
          </p:nvPr>
        </p:nvSpPr>
        <p:spPr/>
        <p:txBody>
          <a:bodyPr/>
          <a:lstStyle/>
          <a:p>
            <a:r>
              <a:rPr lang="en-US"/>
              <a:t>APMWG</a:t>
            </a:r>
          </a:p>
        </p:txBody>
      </p:sp>
      <p:sp>
        <p:nvSpPr>
          <p:cNvPr id="6" name="Slide Number Placeholder 5">
            <a:extLst>
              <a:ext uri="{FF2B5EF4-FFF2-40B4-BE49-F238E27FC236}">
                <a16:creationId xmlns:a16="http://schemas.microsoft.com/office/drawing/2014/main" id="{27B6544F-551B-D665-C6EB-8DFE04C65977}"/>
              </a:ext>
            </a:extLst>
          </p:cNvPr>
          <p:cNvSpPr>
            <a:spLocks noGrp="1"/>
          </p:cNvSpPr>
          <p:nvPr>
            <p:ph type="sldNum" sz="quarter" idx="12"/>
          </p:nvPr>
        </p:nvSpPr>
        <p:spPr/>
        <p:txBody>
          <a:bodyPr/>
          <a:lstStyle/>
          <a:p>
            <a:fld id="{1A9E565A-6679-4A67-8FB7-14EA342FD6E1}" type="slidenum">
              <a:rPr lang="en-US" smtClean="0"/>
              <a:pPr/>
              <a:t>3</a:t>
            </a:fld>
            <a:endParaRPr lang="en-US"/>
          </a:p>
        </p:txBody>
      </p:sp>
      <p:pic>
        <p:nvPicPr>
          <p:cNvPr id="8" name="Picture 7">
            <a:extLst>
              <a:ext uri="{FF2B5EF4-FFF2-40B4-BE49-F238E27FC236}">
                <a16:creationId xmlns:a16="http://schemas.microsoft.com/office/drawing/2014/main" id="{A67AFDFD-2566-F75C-1F77-6BB3E216F857}"/>
              </a:ext>
            </a:extLst>
          </p:cNvPr>
          <p:cNvPicPr>
            <a:picLocks noChangeAspect="1"/>
          </p:cNvPicPr>
          <p:nvPr/>
        </p:nvPicPr>
        <p:blipFill>
          <a:blip r:embed="rId2"/>
          <a:stretch>
            <a:fillRect/>
          </a:stretch>
        </p:blipFill>
        <p:spPr>
          <a:xfrm>
            <a:off x="50800" y="1616853"/>
            <a:ext cx="5994400" cy="3996267"/>
          </a:xfrm>
          <a:prstGeom prst="rect">
            <a:avLst/>
          </a:prstGeom>
        </p:spPr>
      </p:pic>
      <p:pic>
        <p:nvPicPr>
          <p:cNvPr id="10" name="Picture 9">
            <a:extLst>
              <a:ext uri="{FF2B5EF4-FFF2-40B4-BE49-F238E27FC236}">
                <a16:creationId xmlns:a16="http://schemas.microsoft.com/office/drawing/2014/main" id="{C7CEE472-61E0-54C4-4583-B01E34E39775}"/>
              </a:ext>
            </a:extLst>
          </p:cNvPr>
          <p:cNvPicPr>
            <a:picLocks noChangeAspect="1"/>
          </p:cNvPicPr>
          <p:nvPr/>
        </p:nvPicPr>
        <p:blipFill>
          <a:blip r:embed="rId3"/>
          <a:stretch>
            <a:fillRect/>
          </a:stretch>
        </p:blipFill>
        <p:spPr>
          <a:xfrm>
            <a:off x="6146800" y="1616854"/>
            <a:ext cx="5994400" cy="3996266"/>
          </a:xfrm>
          <a:prstGeom prst="rect">
            <a:avLst/>
          </a:prstGeom>
        </p:spPr>
      </p:pic>
      <p:sp>
        <p:nvSpPr>
          <p:cNvPr id="12" name="TextBox 11">
            <a:extLst>
              <a:ext uri="{FF2B5EF4-FFF2-40B4-BE49-F238E27FC236}">
                <a16:creationId xmlns:a16="http://schemas.microsoft.com/office/drawing/2014/main" id="{F918A973-C8B0-5F2A-2C61-B30B008E25DC}"/>
              </a:ext>
            </a:extLst>
          </p:cNvPr>
          <p:cNvSpPr txBox="1"/>
          <p:nvPr/>
        </p:nvSpPr>
        <p:spPr>
          <a:xfrm>
            <a:off x="86371" y="5263632"/>
            <a:ext cx="2590800" cy="307777"/>
          </a:xfrm>
          <a:prstGeom prst="rect">
            <a:avLst/>
          </a:prstGeom>
          <a:solidFill>
            <a:schemeClr val="bg1"/>
          </a:solidFill>
          <a:ln>
            <a:solidFill>
              <a:schemeClr val="tx2"/>
            </a:solidFill>
          </a:ln>
        </p:spPr>
        <p:txBody>
          <a:bodyPr wrap="square">
            <a:spAutoFit/>
          </a:bodyPr>
          <a:lstStyle/>
          <a:p>
            <a:r>
              <a:rPr lang="de-CH" sz="1400" b="0" i="1" dirty="0" err="1">
                <a:effectLst/>
              </a:rPr>
              <a:t>When</a:t>
            </a:r>
            <a:r>
              <a:rPr lang="de-CH" sz="1400" b="0" i="1" dirty="0">
                <a:effectLst/>
              </a:rPr>
              <a:t> </a:t>
            </a:r>
            <a:r>
              <a:rPr lang="de-CH" sz="1400" b="0" i="1" dirty="0" err="1">
                <a:effectLst/>
              </a:rPr>
              <a:t>definitions</a:t>
            </a:r>
            <a:r>
              <a:rPr lang="de-CH" sz="1400" b="0" i="1" dirty="0">
                <a:effectLst/>
              </a:rPr>
              <a:t> </a:t>
            </a:r>
            <a:r>
              <a:rPr lang="de-CH" sz="1400" i="1" dirty="0" err="1"/>
              <a:t>d</a:t>
            </a:r>
            <a:r>
              <a:rPr lang="de-CH" sz="1400" b="0" i="1" dirty="0" err="1">
                <a:effectLst/>
              </a:rPr>
              <a:t>on’t</a:t>
            </a:r>
            <a:r>
              <a:rPr lang="de-CH" sz="1400" b="0" i="1" dirty="0">
                <a:effectLst/>
              </a:rPr>
              <a:t> </a:t>
            </a:r>
            <a:r>
              <a:rPr lang="de-CH" sz="1400" b="0" i="1" dirty="0" err="1">
                <a:effectLst/>
              </a:rPr>
              <a:t>align</a:t>
            </a:r>
            <a:r>
              <a:rPr lang="de-CH" sz="1400" b="0" i="1" dirty="0">
                <a:effectLst/>
              </a:rPr>
              <a:t>…</a:t>
            </a:r>
            <a:endParaRPr lang="en-US" sz="1400" i="1" dirty="0"/>
          </a:p>
        </p:txBody>
      </p:sp>
      <p:sp>
        <p:nvSpPr>
          <p:cNvPr id="13" name="TextBox 12">
            <a:extLst>
              <a:ext uri="{FF2B5EF4-FFF2-40B4-BE49-F238E27FC236}">
                <a16:creationId xmlns:a16="http://schemas.microsoft.com/office/drawing/2014/main" id="{A212C3CC-04F5-C556-D113-7D930963EB94}"/>
              </a:ext>
            </a:extLst>
          </p:cNvPr>
          <p:cNvSpPr txBox="1"/>
          <p:nvPr/>
        </p:nvSpPr>
        <p:spPr>
          <a:xfrm>
            <a:off x="6219045" y="5198812"/>
            <a:ext cx="4047671" cy="307777"/>
          </a:xfrm>
          <a:prstGeom prst="rect">
            <a:avLst/>
          </a:prstGeom>
          <a:solidFill>
            <a:schemeClr val="bg1"/>
          </a:solidFill>
          <a:ln>
            <a:solidFill>
              <a:schemeClr val="tx2"/>
            </a:solidFill>
          </a:ln>
        </p:spPr>
        <p:txBody>
          <a:bodyPr wrap="square">
            <a:spAutoFit/>
          </a:bodyPr>
          <a:lstStyle>
            <a:defPPr>
              <a:defRPr lang="en-US"/>
            </a:defPPr>
            <a:lvl1pPr>
              <a:defRPr sz="1400" b="0" i="1">
                <a:effectLst/>
              </a:defRPr>
            </a:lvl1pPr>
          </a:lstStyle>
          <a:p>
            <a:r>
              <a:rPr lang="en-US" dirty="0"/>
              <a:t>When Product means the same for everyone…</a:t>
            </a:r>
          </a:p>
        </p:txBody>
      </p:sp>
      <p:sp>
        <p:nvSpPr>
          <p:cNvPr id="15" name="Oval 14">
            <a:extLst>
              <a:ext uri="{FF2B5EF4-FFF2-40B4-BE49-F238E27FC236}">
                <a16:creationId xmlns:a16="http://schemas.microsoft.com/office/drawing/2014/main" id="{0079CFC2-3833-0068-1902-4EA7F52D467A}"/>
              </a:ext>
            </a:extLst>
          </p:cNvPr>
          <p:cNvSpPr/>
          <p:nvPr/>
        </p:nvSpPr>
        <p:spPr>
          <a:xfrm>
            <a:off x="5615983" y="3088406"/>
            <a:ext cx="960034" cy="960034"/>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vs.</a:t>
            </a:r>
          </a:p>
        </p:txBody>
      </p:sp>
    </p:spTree>
    <p:extLst>
      <p:ext uri="{BB962C8B-B14F-4D97-AF65-F5344CB8AC3E}">
        <p14:creationId xmlns:p14="http://schemas.microsoft.com/office/powerpoint/2010/main" val="36489120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675A0-C20A-31DA-D828-A369E30FB664}"/>
              </a:ext>
            </a:extLst>
          </p:cNvPr>
          <p:cNvSpPr>
            <a:spLocks noGrp="1"/>
          </p:cNvSpPr>
          <p:nvPr>
            <p:ph type="title"/>
          </p:nvPr>
        </p:nvSpPr>
        <p:spPr/>
        <p:txBody>
          <a:bodyPr/>
          <a:lstStyle/>
          <a:p>
            <a:r>
              <a:rPr lang="en-US" dirty="0"/>
              <a:t>Product Management in Modern Airline Retailing</a:t>
            </a:r>
          </a:p>
        </p:txBody>
      </p:sp>
      <p:sp>
        <p:nvSpPr>
          <p:cNvPr id="3" name="Date Placeholder 2">
            <a:extLst>
              <a:ext uri="{FF2B5EF4-FFF2-40B4-BE49-F238E27FC236}">
                <a16:creationId xmlns:a16="http://schemas.microsoft.com/office/drawing/2014/main" id="{54E326AA-7874-E55E-33B2-B461FD970589}"/>
              </a:ext>
            </a:extLst>
          </p:cNvPr>
          <p:cNvSpPr>
            <a:spLocks noGrp="1"/>
          </p:cNvSpPr>
          <p:nvPr>
            <p:ph type="dt" sz="half" idx="10"/>
          </p:nvPr>
        </p:nvSpPr>
        <p:spPr/>
        <p:txBody>
          <a:bodyPr/>
          <a:lstStyle/>
          <a:p>
            <a:r>
              <a:rPr lang="de-DE"/>
              <a:t>02 November 2025</a:t>
            </a:r>
            <a:endParaRPr lang="en-US"/>
          </a:p>
        </p:txBody>
      </p:sp>
      <p:sp>
        <p:nvSpPr>
          <p:cNvPr id="4" name="Footer Placeholder 3">
            <a:extLst>
              <a:ext uri="{FF2B5EF4-FFF2-40B4-BE49-F238E27FC236}">
                <a16:creationId xmlns:a16="http://schemas.microsoft.com/office/drawing/2014/main" id="{F5248A9A-72EE-5CF7-5A10-52B22B5CBE36}"/>
              </a:ext>
            </a:extLst>
          </p:cNvPr>
          <p:cNvSpPr>
            <a:spLocks noGrp="1"/>
          </p:cNvSpPr>
          <p:nvPr>
            <p:ph type="ftr" sz="quarter" idx="11"/>
          </p:nvPr>
        </p:nvSpPr>
        <p:spPr/>
        <p:txBody>
          <a:bodyPr/>
          <a:lstStyle/>
          <a:p>
            <a:r>
              <a:rPr lang="en-US"/>
              <a:t>APMWG</a:t>
            </a:r>
          </a:p>
        </p:txBody>
      </p:sp>
      <p:sp>
        <p:nvSpPr>
          <p:cNvPr id="5" name="Slide Number Placeholder 4">
            <a:extLst>
              <a:ext uri="{FF2B5EF4-FFF2-40B4-BE49-F238E27FC236}">
                <a16:creationId xmlns:a16="http://schemas.microsoft.com/office/drawing/2014/main" id="{9E8ACABC-FBD4-1194-B2C3-67C2131BAAAF}"/>
              </a:ext>
            </a:extLst>
          </p:cNvPr>
          <p:cNvSpPr>
            <a:spLocks noGrp="1"/>
          </p:cNvSpPr>
          <p:nvPr>
            <p:ph type="sldNum" sz="quarter" idx="12"/>
          </p:nvPr>
        </p:nvSpPr>
        <p:spPr/>
        <p:txBody>
          <a:bodyPr/>
          <a:lstStyle/>
          <a:p>
            <a:fld id="{1A9E565A-6679-4A67-8FB7-14EA342FD6E1}" type="slidenum">
              <a:rPr lang="en-US" smtClean="0"/>
              <a:pPr/>
              <a:t>4</a:t>
            </a:fld>
            <a:endParaRPr lang="en-US"/>
          </a:p>
        </p:txBody>
      </p:sp>
      <p:sp>
        <p:nvSpPr>
          <p:cNvPr id="49" name="Rounded Rectangle 1">
            <a:extLst>
              <a:ext uri="{FF2B5EF4-FFF2-40B4-BE49-F238E27FC236}">
                <a16:creationId xmlns:a16="http://schemas.microsoft.com/office/drawing/2014/main" id="{54C0A48E-196E-78C8-C666-A3289FE4571D}"/>
              </a:ext>
            </a:extLst>
          </p:cNvPr>
          <p:cNvSpPr/>
          <p:nvPr/>
        </p:nvSpPr>
        <p:spPr>
          <a:xfrm>
            <a:off x="2098040" y="2277298"/>
            <a:ext cx="5481637" cy="3429000"/>
          </a:xfrm>
          <a:custGeom>
            <a:avLst/>
            <a:gdLst/>
            <a:ahLst/>
            <a:cxnLst/>
            <a:rect l="0" t="0" r="0" b="0"/>
            <a:pathLst>
              <a:path w="5481637" h="3429000">
                <a:moveTo>
                  <a:pt x="685800" y="3429000"/>
                </a:moveTo>
                <a:cubicBezTo>
                  <a:pt x="685800" y="1913972"/>
                  <a:pt x="1913972" y="685800"/>
                  <a:pt x="3429000" y="685800"/>
                </a:cubicBezTo>
                <a:lnTo>
                  <a:pt x="5138737" y="685800"/>
                </a:lnTo>
                <a:lnTo>
                  <a:pt x="5481637" y="342900"/>
                </a:lnTo>
                <a:lnTo>
                  <a:pt x="5138737" y="0"/>
                </a:lnTo>
                <a:lnTo>
                  <a:pt x="3429000" y="0"/>
                </a:lnTo>
                <a:cubicBezTo>
                  <a:pt x="1535220" y="0"/>
                  <a:pt x="0" y="1535220"/>
                  <a:pt x="0" y="3429000"/>
                </a:cubicBezTo>
                <a:lnTo>
                  <a:pt x="685800" y="3429000"/>
                </a:lnTo>
              </a:path>
            </a:pathLst>
          </a:custGeom>
          <a:solidFill>
            <a:schemeClr val="accent1"/>
          </a:solidFill>
          <a:ln>
            <a:noFill/>
          </a:ln>
        </p:spPr>
        <p:txBody>
          <a:bodyPr rtlCol="0" anchor="ctr"/>
          <a:lstStyle/>
          <a:p>
            <a:pPr algn="ctr"/>
            <a:endParaRPr dirty="0"/>
          </a:p>
        </p:txBody>
      </p:sp>
      <p:sp>
        <p:nvSpPr>
          <p:cNvPr id="50" name="Rounded Rectangle 2">
            <a:extLst>
              <a:ext uri="{FF2B5EF4-FFF2-40B4-BE49-F238E27FC236}">
                <a16:creationId xmlns:a16="http://schemas.microsoft.com/office/drawing/2014/main" id="{7D62756F-9DF6-5C51-7674-8D983F513DDD}"/>
              </a:ext>
            </a:extLst>
          </p:cNvPr>
          <p:cNvSpPr/>
          <p:nvPr/>
        </p:nvSpPr>
        <p:spPr>
          <a:xfrm>
            <a:off x="2098040" y="2277298"/>
            <a:ext cx="5481637" cy="3429000"/>
          </a:xfrm>
          <a:custGeom>
            <a:avLst/>
            <a:gdLst/>
            <a:ahLst/>
            <a:cxnLst/>
            <a:rect l="0" t="0" r="0" b="0"/>
            <a:pathLst>
              <a:path w="5481637" h="3429000">
                <a:moveTo>
                  <a:pt x="685800" y="3429000"/>
                </a:moveTo>
                <a:cubicBezTo>
                  <a:pt x="685800" y="1913972"/>
                  <a:pt x="1913972" y="685800"/>
                  <a:pt x="3429000" y="685800"/>
                </a:cubicBezTo>
                <a:lnTo>
                  <a:pt x="5138737" y="685800"/>
                </a:lnTo>
                <a:lnTo>
                  <a:pt x="5481637" y="342900"/>
                </a:lnTo>
                <a:lnTo>
                  <a:pt x="5138737" y="0"/>
                </a:lnTo>
                <a:lnTo>
                  <a:pt x="3429000" y="0"/>
                </a:lnTo>
                <a:cubicBezTo>
                  <a:pt x="1535215" y="0"/>
                  <a:pt x="0" y="1535215"/>
                  <a:pt x="0" y="3429000"/>
                </a:cubicBezTo>
                <a:lnTo>
                  <a:pt x="685800" y="3429000"/>
                </a:lnTo>
                <a:close/>
              </a:path>
            </a:pathLst>
          </a:custGeom>
          <a:noFill/>
          <a:ln w="14287">
            <a:solidFill>
              <a:srgbClr val="FFFFFF"/>
            </a:solidFill>
          </a:ln>
        </p:spPr>
        <p:txBody>
          <a:bodyPr rtlCol="0" anchor="ctr"/>
          <a:lstStyle/>
          <a:p>
            <a:pPr algn="ctr"/>
            <a:endParaRPr/>
          </a:p>
        </p:txBody>
      </p:sp>
      <p:sp>
        <p:nvSpPr>
          <p:cNvPr id="51" name="Rounded Rectangle 3">
            <a:extLst>
              <a:ext uri="{FF2B5EF4-FFF2-40B4-BE49-F238E27FC236}">
                <a16:creationId xmlns:a16="http://schemas.microsoft.com/office/drawing/2014/main" id="{22940782-3FE6-A054-F184-1EC5008ECC33}"/>
              </a:ext>
            </a:extLst>
          </p:cNvPr>
          <p:cNvSpPr/>
          <p:nvPr/>
        </p:nvSpPr>
        <p:spPr>
          <a:xfrm>
            <a:off x="2783840" y="2963098"/>
            <a:ext cx="4795837" cy="2743200"/>
          </a:xfrm>
          <a:custGeom>
            <a:avLst/>
            <a:gdLst/>
            <a:ahLst/>
            <a:cxnLst/>
            <a:rect l="0" t="0" r="0" b="0"/>
            <a:pathLst>
              <a:path w="4795837" h="2743200">
                <a:moveTo>
                  <a:pt x="685800" y="2743200"/>
                </a:moveTo>
                <a:cubicBezTo>
                  <a:pt x="685800" y="1606924"/>
                  <a:pt x="1606924" y="685800"/>
                  <a:pt x="2743200" y="685800"/>
                </a:cubicBezTo>
                <a:lnTo>
                  <a:pt x="4452937" y="685800"/>
                </a:lnTo>
                <a:lnTo>
                  <a:pt x="4795837" y="342900"/>
                </a:lnTo>
                <a:lnTo>
                  <a:pt x="4452937" y="0"/>
                </a:lnTo>
                <a:lnTo>
                  <a:pt x="2743200" y="0"/>
                </a:lnTo>
                <a:cubicBezTo>
                  <a:pt x="1228172" y="0"/>
                  <a:pt x="0" y="1228172"/>
                  <a:pt x="0" y="2743200"/>
                </a:cubicBezTo>
                <a:lnTo>
                  <a:pt x="685800" y="2743200"/>
                </a:lnTo>
              </a:path>
            </a:pathLst>
          </a:custGeom>
          <a:solidFill>
            <a:schemeClr val="accent1">
              <a:lumMod val="60000"/>
              <a:lumOff val="40000"/>
            </a:schemeClr>
          </a:solidFill>
          <a:ln>
            <a:noFill/>
          </a:ln>
        </p:spPr>
        <p:txBody>
          <a:bodyPr rtlCol="0" anchor="ctr"/>
          <a:lstStyle/>
          <a:p>
            <a:pPr algn="ctr"/>
            <a:endParaRPr/>
          </a:p>
        </p:txBody>
      </p:sp>
      <p:sp>
        <p:nvSpPr>
          <p:cNvPr id="52" name="Rounded Rectangle 4">
            <a:extLst>
              <a:ext uri="{FF2B5EF4-FFF2-40B4-BE49-F238E27FC236}">
                <a16:creationId xmlns:a16="http://schemas.microsoft.com/office/drawing/2014/main" id="{B903717D-B64C-AD4B-0C98-2E1BAFE7A72C}"/>
              </a:ext>
            </a:extLst>
          </p:cNvPr>
          <p:cNvSpPr/>
          <p:nvPr/>
        </p:nvSpPr>
        <p:spPr>
          <a:xfrm>
            <a:off x="2783840" y="2963098"/>
            <a:ext cx="4795837" cy="2743200"/>
          </a:xfrm>
          <a:custGeom>
            <a:avLst/>
            <a:gdLst/>
            <a:ahLst/>
            <a:cxnLst/>
            <a:rect l="0" t="0" r="0" b="0"/>
            <a:pathLst>
              <a:path w="4795837" h="2743200">
                <a:moveTo>
                  <a:pt x="685800" y="2743200"/>
                </a:moveTo>
                <a:cubicBezTo>
                  <a:pt x="685800" y="1606929"/>
                  <a:pt x="1606929" y="685800"/>
                  <a:pt x="2743200" y="685800"/>
                </a:cubicBezTo>
                <a:lnTo>
                  <a:pt x="4452937" y="685800"/>
                </a:lnTo>
                <a:lnTo>
                  <a:pt x="4795837" y="342900"/>
                </a:lnTo>
                <a:lnTo>
                  <a:pt x="4452937" y="0"/>
                </a:lnTo>
                <a:lnTo>
                  <a:pt x="2743200" y="0"/>
                </a:lnTo>
                <a:cubicBezTo>
                  <a:pt x="1228172" y="0"/>
                  <a:pt x="0" y="1228172"/>
                  <a:pt x="0" y="2743200"/>
                </a:cubicBezTo>
                <a:lnTo>
                  <a:pt x="685800" y="2743200"/>
                </a:lnTo>
                <a:close/>
              </a:path>
            </a:pathLst>
          </a:custGeom>
          <a:noFill/>
          <a:ln w="14287">
            <a:solidFill>
              <a:srgbClr val="FFFFFF"/>
            </a:solidFill>
          </a:ln>
        </p:spPr>
        <p:txBody>
          <a:bodyPr rtlCol="0" anchor="ctr"/>
          <a:lstStyle/>
          <a:p>
            <a:pPr algn="ctr"/>
            <a:endParaRPr/>
          </a:p>
        </p:txBody>
      </p:sp>
      <p:sp>
        <p:nvSpPr>
          <p:cNvPr id="53" name="Rounded Rectangle 5">
            <a:extLst>
              <a:ext uri="{FF2B5EF4-FFF2-40B4-BE49-F238E27FC236}">
                <a16:creationId xmlns:a16="http://schemas.microsoft.com/office/drawing/2014/main" id="{3B984D14-9D7B-CB76-2B9C-7D11D440EBEB}"/>
              </a:ext>
            </a:extLst>
          </p:cNvPr>
          <p:cNvSpPr/>
          <p:nvPr/>
        </p:nvSpPr>
        <p:spPr>
          <a:xfrm>
            <a:off x="3469640" y="3648898"/>
            <a:ext cx="4110037" cy="2057400"/>
          </a:xfrm>
          <a:custGeom>
            <a:avLst/>
            <a:gdLst/>
            <a:ahLst/>
            <a:cxnLst/>
            <a:rect l="0" t="0" r="0" b="0"/>
            <a:pathLst>
              <a:path w="4110037" h="2057400">
                <a:moveTo>
                  <a:pt x="685800" y="2057400"/>
                </a:moveTo>
                <a:cubicBezTo>
                  <a:pt x="685800" y="1299886"/>
                  <a:pt x="1299886" y="685800"/>
                  <a:pt x="2057400" y="685800"/>
                </a:cubicBezTo>
                <a:lnTo>
                  <a:pt x="3767137" y="685800"/>
                </a:lnTo>
                <a:lnTo>
                  <a:pt x="4110037" y="342900"/>
                </a:lnTo>
                <a:lnTo>
                  <a:pt x="3767137" y="0"/>
                </a:lnTo>
                <a:lnTo>
                  <a:pt x="2057400" y="0"/>
                </a:lnTo>
                <a:cubicBezTo>
                  <a:pt x="921124" y="0"/>
                  <a:pt x="0" y="921124"/>
                  <a:pt x="0" y="2057400"/>
                </a:cubicBezTo>
                <a:lnTo>
                  <a:pt x="685800" y="2057400"/>
                </a:lnTo>
              </a:path>
            </a:pathLst>
          </a:custGeom>
          <a:solidFill>
            <a:schemeClr val="accent1">
              <a:lumMod val="40000"/>
              <a:lumOff val="60000"/>
            </a:schemeClr>
          </a:solidFill>
          <a:ln>
            <a:noFill/>
          </a:ln>
        </p:spPr>
        <p:txBody>
          <a:bodyPr rtlCol="0" anchor="ctr"/>
          <a:lstStyle/>
          <a:p>
            <a:pPr algn="ctr"/>
            <a:endParaRPr/>
          </a:p>
        </p:txBody>
      </p:sp>
      <p:sp>
        <p:nvSpPr>
          <p:cNvPr id="54" name="Rounded Rectangle 6">
            <a:extLst>
              <a:ext uri="{FF2B5EF4-FFF2-40B4-BE49-F238E27FC236}">
                <a16:creationId xmlns:a16="http://schemas.microsoft.com/office/drawing/2014/main" id="{D4DE1C01-D960-D3FB-E889-028ECB658934}"/>
              </a:ext>
            </a:extLst>
          </p:cNvPr>
          <p:cNvSpPr/>
          <p:nvPr/>
        </p:nvSpPr>
        <p:spPr>
          <a:xfrm>
            <a:off x="3469640" y="3648898"/>
            <a:ext cx="4110037" cy="2057400"/>
          </a:xfrm>
          <a:custGeom>
            <a:avLst/>
            <a:gdLst/>
            <a:ahLst/>
            <a:cxnLst/>
            <a:rect l="0" t="0" r="0" b="0"/>
            <a:pathLst>
              <a:path w="4110037" h="2057400">
                <a:moveTo>
                  <a:pt x="685800" y="2057400"/>
                </a:moveTo>
                <a:cubicBezTo>
                  <a:pt x="685800" y="1299886"/>
                  <a:pt x="1299886" y="685800"/>
                  <a:pt x="2057400" y="685800"/>
                </a:cubicBezTo>
                <a:lnTo>
                  <a:pt x="3767137" y="685800"/>
                </a:lnTo>
                <a:lnTo>
                  <a:pt x="4110037" y="342900"/>
                </a:lnTo>
                <a:lnTo>
                  <a:pt x="3767137" y="0"/>
                </a:lnTo>
                <a:lnTo>
                  <a:pt x="2057400" y="0"/>
                </a:lnTo>
                <a:cubicBezTo>
                  <a:pt x="921129" y="0"/>
                  <a:pt x="0" y="921129"/>
                  <a:pt x="0" y="2057400"/>
                </a:cubicBezTo>
                <a:lnTo>
                  <a:pt x="685800" y="2057400"/>
                </a:lnTo>
                <a:close/>
              </a:path>
            </a:pathLst>
          </a:custGeom>
          <a:noFill/>
          <a:ln w="14287">
            <a:solidFill>
              <a:srgbClr val="FFFFFF"/>
            </a:solidFill>
          </a:ln>
        </p:spPr>
        <p:txBody>
          <a:bodyPr rtlCol="0" anchor="ctr"/>
          <a:lstStyle/>
          <a:p>
            <a:pPr algn="ctr"/>
            <a:endParaRPr/>
          </a:p>
        </p:txBody>
      </p:sp>
      <p:sp>
        <p:nvSpPr>
          <p:cNvPr id="55" name="Rounded Rectangle 7">
            <a:extLst>
              <a:ext uri="{FF2B5EF4-FFF2-40B4-BE49-F238E27FC236}">
                <a16:creationId xmlns:a16="http://schemas.microsoft.com/office/drawing/2014/main" id="{1DD1C421-CBCF-98BD-8BC6-47BE8E0794CD}"/>
              </a:ext>
            </a:extLst>
          </p:cNvPr>
          <p:cNvSpPr/>
          <p:nvPr/>
        </p:nvSpPr>
        <p:spPr>
          <a:xfrm>
            <a:off x="4155440" y="4334698"/>
            <a:ext cx="3424237" cy="1371600"/>
          </a:xfrm>
          <a:custGeom>
            <a:avLst/>
            <a:gdLst/>
            <a:ahLst/>
            <a:cxnLst/>
            <a:rect l="0" t="0" r="0" b="0"/>
            <a:pathLst>
              <a:path w="3424237" h="1371600">
                <a:moveTo>
                  <a:pt x="685800" y="1371600"/>
                </a:moveTo>
                <a:cubicBezTo>
                  <a:pt x="685800" y="992838"/>
                  <a:pt x="992838" y="685800"/>
                  <a:pt x="1371600" y="685800"/>
                </a:cubicBezTo>
                <a:lnTo>
                  <a:pt x="3081337" y="685800"/>
                </a:lnTo>
                <a:lnTo>
                  <a:pt x="3424237" y="342900"/>
                </a:lnTo>
                <a:lnTo>
                  <a:pt x="3081337" y="0"/>
                </a:lnTo>
                <a:lnTo>
                  <a:pt x="1371600" y="0"/>
                </a:lnTo>
                <a:cubicBezTo>
                  <a:pt x="614086" y="0"/>
                  <a:pt x="0" y="614086"/>
                  <a:pt x="0" y="1371600"/>
                </a:cubicBezTo>
                <a:lnTo>
                  <a:pt x="685800" y="1371600"/>
                </a:lnTo>
              </a:path>
            </a:pathLst>
          </a:custGeom>
          <a:solidFill>
            <a:schemeClr val="accent1">
              <a:lumMod val="20000"/>
              <a:lumOff val="80000"/>
            </a:schemeClr>
          </a:solidFill>
          <a:ln>
            <a:noFill/>
          </a:ln>
        </p:spPr>
        <p:txBody>
          <a:bodyPr rtlCol="0" anchor="ctr"/>
          <a:lstStyle/>
          <a:p>
            <a:pPr algn="ctr"/>
            <a:endParaRPr/>
          </a:p>
        </p:txBody>
      </p:sp>
      <p:sp>
        <p:nvSpPr>
          <p:cNvPr id="56" name="Rounded Rectangle 8">
            <a:extLst>
              <a:ext uri="{FF2B5EF4-FFF2-40B4-BE49-F238E27FC236}">
                <a16:creationId xmlns:a16="http://schemas.microsoft.com/office/drawing/2014/main" id="{F88DE35E-1060-B149-340E-81704E03CFA7}"/>
              </a:ext>
            </a:extLst>
          </p:cNvPr>
          <p:cNvSpPr/>
          <p:nvPr/>
        </p:nvSpPr>
        <p:spPr>
          <a:xfrm>
            <a:off x="4155440" y="4334698"/>
            <a:ext cx="3424237" cy="1371600"/>
          </a:xfrm>
          <a:custGeom>
            <a:avLst/>
            <a:gdLst/>
            <a:ahLst/>
            <a:cxnLst/>
            <a:rect l="0" t="0" r="0" b="0"/>
            <a:pathLst>
              <a:path w="3424237" h="1371600">
                <a:moveTo>
                  <a:pt x="685800" y="1371600"/>
                </a:moveTo>
                <a:cubicBezTo>
                  <a:pt x="685800" y="992843"/>
                  <a:pt x="992843" y="685800"/>
                  <a:pt x="1371600" y="685800"/>
                </a:cubicBezTo>
                <a:lnTo>
                  <a:pt x="3081337" y="685800"/>
                </a:lnTo>
                <a:lnTo>
                  <a:pt x="3424237" y="342900"/>
                </a:lnTo>
                <a:lnTo>
                  <a:pt x="3081337" y="0"/>
                </a:lnTo>
                <a:lnTo>
                  <a:pt x="1371600" y="0"/>
                </a:lnTo>
                <a:cubicBezTo>
                  <a:pt x="614086" y="0"/>
                  <a:pt x="0" y="614086"/>
                  <a:pt x="0" y="1371600"/>
                </a:cubicBezTo>
                <a:lnTo>
                  <a:pt x="685800" y="1371600"/>
                </a:lnTo>
                <a:close/>
              </a:path>
            </a:pathLst>
          </a:custGeom>
          <a:noFill/>
          <a:ln w="14287">
            <a:solidFill>
              <a:srgbClr val="FFFFFF"/>
            </a:solidFill>
          </a:ln>
        </p:spPr>
        <p:txBody>
          <a:bodyPr rtlCol="0" anchor="ctr"/>
          <a:lstStyle/>
          <a:p>
            <a:pPr algn="ctr"/>
            <a:endParaRPr/>
          </a:p>
        </p:txBody>
      </p:sp>
      <p:sp>
        <p:nvSpPr>
          <p:cNvPr id="57" name="TextBox 56">
            <a:extLst>
              <a:ext uri="{FF2B5EF4-FFF2-40B4-BE49-F238E27FC236}">
                <a16:creationId xmlns:a16="http://schemas.microsoft.com/office/drawing/2014/main" id="{46DBD698-CF7A-6741-7C08-6B6AC1A1968F}"/>
              </a:ext>
            </a:extLst>
          </p:cNvPr>
          <p:cNvSpPr txBox="1"/>
          <p:nvPr/>
        </p:nvSpPr>
        <p:spPr>
          <a:xfrm>
            <a:off x="5769926" y="2410649"/>
            <a:ext cx="1285608" cy="461665"/>
          </a:xfrm>
          <a:prstGeom prst="rect">
            <a:avLst/>
          </a:prstGeom>
          <a:noFill/>
          <a:ln>
            <a:noFill/>
          </a:ln>
        </p:spPr>
        <p:txBody>
          <a:bodyPr wrap="none" lIns="0" tIns="0" rIns="0" bIns="0" anchor="t">
            <a:spAutoFit/>
          </a:bodyPr>
          <a:lstStyle/>
          <a:p>
            <a:pPr algn="l"/>
            <a:r>
              <a:rPr sz="1500" b="1" dirty="0">
                <a:solidFill>
                  <a:srgbClr val="FFFFFF"/>
                </a:solidFill>
              </a:rPr>
              <a:t>Consistent
Interpretation</a:t>
            </a:r>
          </a:p>
        </p:txBody>
      </p:sp>
      <p:sp>
        <p:nvSpPr>
          <p:cNvPr id="58" name="TextBox 57">
            <a:extLst>
              <a:ext uri="{FF2B5EF4-FFF2-40B4-BE49-F238E27FC236}">
                <a16:creationId xmlns:a16="http://schemas.microsoft.com/office/drawing/2014/main" id="{3B3E3092-887C-4FCE-E37A-59F0A90034CF}"/>
              </a:ext>
            </a:extLst>
          </p:cNvPr>
          <p:cNvSpPr txBox="1"/>
          <p:nvPr/>
        </p:nvSpPr>
        <p:spPr>
          <a:xfrm>
            <a:off x="7713026" y="2377311"/>
            <a:ext cx="2224187" cy="338554"/>
          </a:xfrm>
          <a:prstGeom prst="rect">
            <a:avLst/>
          </a:prstGeom>
          <a:noFill/>
          <a:ln>
            <a:noFill/>
          </a:ln>
        </p:spPr>
        <p:txBody>
          <a:bodyPr wrap="square" lIns="0" tIns="0" rIns="0" bIns="0" anchor="t">
            <a:spAutoFit/>
          </a:bodyPr>
          <a:lstStyle/>
          <a:p>
            <a:pPr algn="l"/>
            <a:r>
              <a:rPr sz="1100" dirty="0">
                <a:solidFill>
                  <a:srgbClr val="484848"/>
                </a:solidFill>
              </a:rPr>
              <a:t>Guarantees all parties</a:t>
            </a:r>
            <a:r>
              <a:rPr lang="de-CH" sz="1100" dirty="0">
                <a:solidFill>
                  <a:srgbClr val="484848"/>
                </a:solidFill>
              </a:rPr>
              <a:t> </a:t>
            </a:r>
            <a:r>
              <a:rPr sz="1100" dirty="0">
                <a:solidFill>
                  <a:srgbClr val="484848"/>
                </a:solidFill>
              </a:rPr>
              <a:t>understand products the same</a:t>
            </a:r>
            <a:r>
              <a:rPr lang="de-CH" sz="1100" dirty="0">
                <a:solidFill>
                  <a:srgbClr val="484848"/>
                </a:solidFill>
              </a:rPr>
              <a:t> </a:t>
            </a:r>
            <a:r>
              <a:rPr sz="1100" dirty="0">
                <a:solidFill>
                  <a:srgbClr val="484848"/>
                </a:solidFill>
              </a:rPr>
              <a:t>way</a:t>
            </a:r>
          </a:p>
        </p:txBody>
      </p:sp>
      <p:sp>
        <p:nvSpPr>
          <p:cNvPr id="59" name="TextBox 58">
            <a:extLst>
              <a:ext uri="{FF2B5EF4-FFF2-40B4-BE49-F238E27FC236}">
                <a16:creationId xmlns:a16="http://schemas.microsoft.com/office/drawing/2014/main" id="{57D384C4-D2CC-8F06-90DC-1E0EBD9FAA18}"/>
              </a:ext>
            </a:extLst>
          </p:cNvPr>
          <p:cNvSpPr txBox="1"/>
          <p:nvPr/>
        </p:nvSpPr>
        <p:spPr>
          <a:xfrm>
            <a:off x="5769927" y="3096449"/>
            <a:ext cx="1072409" cy="461665"/>
          </a:xfrm>
          <a:prstGeom prst="rect">
            <a:avLst/>
          </a:prstGeom>
          <a:noFill/>
          <a:ln>
            <a:noFill/>
          </a:ln>
        </p:spPr>
        <p:txBody>
          <a:bodyPr wrap="none" lIns="0" tIns="0" rIns="0" bIns="0" anchor="t">
            <a:spAutoFit/>
          </a:bodyPr>
          <a:lstStyle/>
          <a:p>
            <a:pPr algn="l"/>
            <a:r>
              <a:rPr sz="1500" b="1">
                <a:solidFill>
                  <a:srgbClr val="FFFFFF"/>
                </a:solidFill>
              </a:rPr>
              <a:t>Information
Sharing</a:t>
            </a:r>
          </a:p>
        </p:txBody>
      </p:sp>
      <p:sp>
        <p:nvSpPr>
          <p:cNvPr id="60" name="TextBox 59">
            <a:extLst>
              <a:ext uri="{FF2B5EF4-FFF2-40B4-BE49-F238E27FC236}">
                <a16:creationId xmlns:a16="http://schemas.microsoft.com/office/drawing/2014/main" id="{B102FB01-A060-0761-97C5-DE5F67354C28}"/>
              </a:ext>
            </a:extLst>
          </p:cNvPr>
          <p:cNvSpPr txBox="1"/>
          <p:nvPr/>
        </p:nvSpPr>
        <p:spPr>
          <a:xfrm>
            <a:off x="7714106" y="3063111"/>
            <a:ext cx="2223107" cy="338554"/>
          </a:xfrm>
          <a:prstGeom prst="rect">
            <a:avLst/>
          </a:prstGeom>
          <a:noFill/>
          <a:ln>
            <a:noFill/>
          </a:ln>
        </p:spPr>
        <p:txBody>
          <a:bodyPr wrap="square" lIns="0" tIns="0" rIns="0" bIns="0" anchor="t">
            <a:spAutoFit/>
          </a:bodyPr>
          <a:lstStyle/>
          <a:p>
            <a:pPr algn="l"/>
            <a:r>
              <a:rPr sz="1100" dirty="0">
                <a:solidFill>
                  <a:srgbClr val="484848"/>
                </a:solidFill>
              </a:rPr>
              <a:t>Ensures consistent</a:t>
            </a:r>
            <a:r>
              <a:rPr lang="de-CH" sz="1100" dirty="0">
                <a:solidFill>
                  <a:srgbClr val="484848"/>
                </a:solidFill>
              </a:rPr>
              <a:t> </a:t>
            </a:r>
            <a:r>
              <a:rPr sz="1100" dirty="0">
                <a:solidFill>
                  <a:srgbClr val="484848"/>
                </a:solidFill>
              </a:rPr>
              <a:t>communication across</a:t>
            </a:r>
            <a:r>
              <a:rPr lang="de-CH" sz="1100" dirty="0">
                <a:solidFill>
                  <a:srgbClr val="484848"/>
                </a:solidFill>
              </a:rPr>
              <a:t> </a:t>
            </a:r>
            <a:r>
              <a:rPr sz="1100" dirty="0">
                <a:solidFill>
                  <a:srgbClr val="484848"/>
                </a:solidFill>
              </a:rPr>
              <a:t>partners</a:t>
            </a:r>
          </a:p>
        </p:txBody>
      </p:sp>
      <p:sp>
        <p:nvSpPr>
          <p:cNvPr id="61" name="TextBox 60">
            <a:extLst>
              <a:ext uri="{FF2B5EF4-FFF2-40B4-BE49-F238E27FC236}">
                <a16:creationId xmlns:a16="http://schemas.microsoft.com/office/drawing/2014/main" id="{F91CAA1B-11E0-9E43-53CA-43864A1754C9}"/>
              </a:ext>
            </a:extLst>
          </p:cNvPr>
          <p:cNvSpPr txBox="1"/>
          <p:nvPr/>
        </p:nvSpPr>
        <p:spPr>
          <a:xfrm>
            <a:off x="5769927" y="3782249"/>
            <a:ext cx="875240" cy="461665"/>
          </a:xfrm>
          <a:prstGeom prst="rect">
            <a:avLst/>
          </a:prstGeom>
          <a:noFill/>
          <a:ln>
            <a:noFill/>
          </a:ln>
        </p:spPr>
        <p:txBody>
          <a:bodyPr wrap="none" lIns="0" tIns="0" rIns="0" bIns="0" anchor="t">
            <a:spAutoFit/>
          </a:bodyPr>
          <a:lstStyle/>
          <a:p>
            <a:pPr algn="l"/>
            <a:r>
              <a:rPr sz="1500" b="1">
                <a:solidFill>
                  <a:srgbClr val="FFFFFF"/>
                </a:solidFill>
              </a:rPr>
              <a:t>Product
Structure</a:t>
            </a:r>
          </a:p>
        </p:txBody>
      </p:sp>
      <p:sp>
        <p:nvSpPr>
          <p:cNvPr id="62" name="TextBox 61">
            <a:extLst>
              <a:ext uri="{FF2B5EF4-FFF2-40B4-BE49-F238E27FC236}">
                <a16:creationId xmlns:a16="http://schemas.microsoft.com/office/drawing/2014/main" id="{C7A60C09-6118-5859-C021-D7E9E2FF1D2B}"/>
              </a:ext>
            </a:extLst>
          </p:cNvPr>
          <p:cNvSpPr txBox="1"/>
          <p:nvPr/>
        </p:nvSpPr>
        <p:spPr>
          <a:xfrm>
            <a:off x="7713027" y="3834635"/>
            <a:ext cx="2464570" cy="338554"/>
          </a:xfrm>
          <a:prstGeom prst="rect">
            <a:avLst/>
          </a:prstGeom>
          <a:noFill/>
          <a:ln>
            <a:noFill/>
          </a:ln>
        </p:spPr>
        <p:txBody>
          <a:bodyPr wrap="square" lIns="0" tIns="0" rIns="0" bIns="0" anchor="t">
            <a:spAutoFit/>
          </a:bodyPr>
          <a:lstStyle/>
          <a:p>
            <a:pPr algn="l"/>
            <a:r>
              <a:rPr sz="1100" dirty="0">
                <a:solidFill>
                  <a:srgbClr val="484848"/>
                </a:solidFill>
              </a:rPr>
              <a:t>Organizes how products are</a:t>
            </a:r>
            <a:r>
              <a:rPr lang="de-CH" sz="1100" dirty="0">
                <a:solidFill>
                  <a:srgbClr val="484848"/>
                </a:solidFill>
              </a:rPr>
              <a:t> </a:t>
            </a:r>
            <a:r>
              <a:rPr sz="1100" dirty="0">
                <a:solidFill>
                  <a:srgbClr val="484848"/>
                </a:solidFill>
              </a:rPr>
              <a:t>presented</a:t>
            </a:r>
          </a:p>
        </p:txBody>
      </p:sp>
      <p:sp>
        <p:nvSpPr>
          <p:cNvPr id="63" name="TextBox 62">
            <a:extLst>
              <a:ext uri="{FF2B5EF4-FFF2-40B4-BE49-F238E27FC236}">
                <a16:creationId xmlns:a16="http://schemas.microsoft.com/office/drawing/2014/main" id="{47E0D974-E3C5-A5ED-B9EA-63802AC0EF38}"/>
              </a:ext>
            </a:extLst>
          </p:cNvPr>
          <p:cNvSpPr txBox="1"/>
          <p:nvPr/>
        </p:nvSpPr>
        <p:spPr>
          <a:xfrm>
            <a:off x="5769927" y="4468049"/>
            <a:ext cx="899285" cy="461665"/>
          </a:xfrm>
          <a:prstGeom prst="rect">
            <a:avLst/>
          </a:prstGeom>
          <a:noFill/>
          <a:ln>
            <a:noFill/>
          </a:ln>
        </p:spPr>
        <p:txBody>
          <a:bodyPr wrap="none" lIns="0" tIns="0" rIns="0" bIns="0" anchor="t">
            <a:spAutoFit/>
          </a:bodyPr>
          <a:lstStyle/>
          <a:p>
            <a:pPr algn="l"/>
            <a:r>
              <a:rPr sz="1500" b="1">
                <a:solidFill>
                  <a:srgbClr val="FFFFFF"/>
                </a:solidFill>
              </a:rPr>
              <a:t>Product
Definition</a:t>
            </a:r>
          </a:p>
        </p:txBody>
      </p:sp>
      <p:sp>
        <p:nvSpPr>
          <p:cNvPr id="64" name="TextBox 63">
            <a:extLst>
              <a:ext uri="{FF2B5EF4-FFF2-40B4-BE49-F238E27FC236}">
                <a16:creationId xmlns:a16="http://schemas.microsoft.com/office/drawing/2014/main" id="{CAF13E8E-E5B9-5852-BE3E-48EF89DC125D}"/>
              </a:ext>
            </a:extLst>
          </p:cNvPr>
          <p:cNvSpPr txBox="1"/>
          <p:nvPr/>
        </p:nvSpPr>
        <p:spPr>
          <a:xfrm>
            <a:off x="7713026" y="4529604"/>
            <a:ext cx="1587877" cy="338554"/>
          </a:xfrm>
          <a:prstGeom prst="rect">
            <a:avLst/>
          </a:prstGeom>
          <a:noFill/>
          <a:ln>
            <a:noFill/>
          </a:ln>
        </p:spPr>
        <p:txBody>
          <a:bodyPr wrap="square" lIns="0" tIns="0" rIns="0" bIns="0" anchor="t">
            <a:spAutoFit/>
          </a:bodyPr>
          <a:lstStyle/>
          <a:p>
            <a:pPr algn="l"/>
            <a:r>
              <a:rPr sz="1100" dirty="0">
                <a:solidFill>
                  <a:srgbClr val="484848"/>
                </a:solidFill>
              </a:rPr>
              <a:t>Defines what the airline sells</a:t>
            </a:r>
          </a:p>
        </p:txBody>
      </p:sp>
      <p:sp>
        <p:nvSpPr>
          <p:cNvPr id="65" name="Rounded Rectangle 18">
            <a:extLst>
              <a:ext uri="{FF2B5EF4-FFF2-40B4-BE49-F238E27FC236}">
                <a16:creationId xmlns:a16="http://schemas.microsoft.com/office/drawing/2014/main" id="{153981F4-3012-F92E-23B5-C94671770609}"/>
              </a:ext>
            </a:extLst>
          </p:cNvPr>
          <p:cNvSpPr/>
          <p:nvPr/>
        </p:nvSpPr>
        <p:spPr>
          <a:xfrm>
            <a:off x="5293676" y="2448748"/>
            <a:ext cx="335756" cy="332298"/>
          </a:xfrm>
          <a:custGeom>
            <a:avLst/>
            <a:gdLst/>
            <a:ahLst/>
            <a:cxnLst/>
            <a:rect l="0" t="0" r="0" b="0"/>
            <a:pathLst>
              <a:path w="335756" h="332298">
                <a:moveTo>
                  <a:pt x="0" y="0"/>
                </a:moveTo>
                <a:moveTo>
                  <a:pt x="7143" y="217998"/>
                </a:moveTo>
                <a:lnTo>
                  <a:pt x="7143" y="332298"/>
                </a:lnTo>
                <a:moveTo>
                  <a:pt x="221456" y="318011"/>
                </a:moveTo>
                <a:cubicBezTo>
                  <a:pt x="221456" y="294338"/>
                  <a:pt x="202266" y="275148"/>
                  <a:pt x="178593" y="275148"/>
                </a:cubicBezTo>
                <a:lnTo>
                  <a:pt x="125015" y="275148"/>
                </a:lnTo>
                <a:cubicBezTo>
                  <a:pt x="125015" y="251476"/>
                  <a:pt x="105825" y="232286"/>
                  <a:pt x="82153" y="232286"/>
                </a:cubicBezTo>
                <a:lnTo>
                  <a:pt x="7143" y="232286"/>
                </a:lnTo>
                <a:lnTo>
                  <a:pt x="7143" y="318011"/>
                </a:lnTo>
                <a:close/>
                <a:moveTo>
                  <a:pt x="0" y="0"/>
                </a:moveTo>
                <a:moveTo>
                  <a:pt x="135731" y="275148"/>
                </a:moveTo>
                <a:lnTo>
                  <a:pt x="82153" y="275148"/>
                </a:lnTo>
                <a:moveTo>
                  <a:pt x="78581" y="189423"/>
                </a:moveTo>
                <a:cubicBezTo>
                  <a:pt x="78720" y="176160"/>
                  <a:pt x="81462" y="163053"/>
                  <a:pt x="86653" y="150847"/>
                </a:cubicBezTo>
                <a:cubicBezTo>
                  <a:pt x="92368" y="139417"/>
                  <a:pt x="116128" y="131559"/>
                  <a:pt x="145989" y="120500"/>
                </a:cubicBezTo>
                <a:cubicBezTo>
                  <a:pt x="154062" y="117514"/>
                  <a:pt x="152733" y="96440"/>
                  <a:pt x="149161" y="92497"/>
                </a:cubicBezTo>
                <a:cubicBezTo>
                  <a:pt x="137649" y="80023"/>
                  <a:pt x="132009" y="63228"/>
                  <a:pt x="133659" y="46334"/>
                </a:cubicBezTo>
                <a:cubicBezTo>
                  <a:pt x="132625" y="35577"/>
                  <a:pt x="136108" y="24875"/>
                  <a:pt x="143274" y="16787"/>
                </a:cubicBezTo>
                <a:cubicBezTo>
                  <a:pt x="150441" y="8699"/>
                  <a:pt x="160647" y="3953"/>
                  <a:pt x="171450" y="3686"/>
                </a:cubicBezTo>
                <a:cubicBezTo>
                  <a:pt x="182252" y="3953"/>
                  <a:pt x="192458" y="8699"/>
                  <a:pt x="199625" y="16787"/>
                </a:cubicBezTo>
                <a:cubicBezTo>
                  <a:pt x="206791" y="24875"/>
                  <a:pt x="210274" y="35577"/>
                  <a:pt x="209240" y="46334"/>
                </a:cubicBezTo>
                <a:cubicBezTo>
                  <a:pt x="210894" y="63233"/>
                  <a:pt x="205254" y="80033"/>
                  <a:pt x="193738" y="92511"/>
                </a:cubicBezTo>
                <a:cubicBezTo>
                  <a:pt x="190166" y="96454"/>
                  <a:pt x="188837" y="117528"/>
                  <a:pt x="196910" y="120515"/>
                </a:cubicBezTo>
                <a:cubicBezTo>
                  <a:pt x="226771" y="131573"/>
                  <a:pt x="250545" y="139474"/>
                  <a:pt x="256246" y="150861"/>
                </a:cubicBezTo>
                <a:cubicBezTo>
                  <a:pt x="261437" y="163067"/>
                  <a:pt x="264179" y="176174"/>
                  <a:pt x="264318" y="189437"/>
                </a:cubicBezTo>
                <a:close/>
                <a:moveTo>
                  <a:pt x="227342" y="7143"/>
                </a:moveTo>
                <a:cubicBezTo>
                  <a:pt x="232209" y="4869"/>
                  <a:pt x="237515" y="3689"/>
                  <a:pt x="242887" y="3686"/>
                </a:cubicBezTo>
                <a:cubicBezTo>
                  <a:pt x="253690" y="3953"/>
                  <a:pt x="263896" y="8699"/>
                  <a:pt x="271062" y="16787"/>
                </a:cubicBezTo>
                <a:cubicBezTo>
                  <a:pt x="278229" y="24875"/>
                  <a:pt x="281712" y="35577"/>
                  <a:pt x="280677" y="46334"/>
                </a:cubicBezTo>
                <a:cubicBezTo>
                  <a:pt x="282331" y="63233"/>
                  <a:pt x="276691" y="80033"/>
                  <a:pt x="265176" y="92511"/>
                </a:cubicBezTo>
                <a:cubicBezTo>
                  <a:pt x="261604" y="96454"/>
                  <a:pt x="260275" y="117528"/>
                  <a:pt x="268347" y="120515"/>
                </a:cubicBezTo>
                <a:cubicBezTo>
                  <a:pt x="298208" y="131573"/>
                  <a:pt x="321983" y="139474"/>
                  <a:pt x="327683" y="150861"/>
                </a:cubicBezTo>
                <a:cubicBezTo>
                  <a:pt x="332874" y="163067"/>
                  <a:pt x="335617" y="176174"/>
                  <a:pt x="335756" y="189437"/>
                </a:cubicBezTo>
                <a:lnTo>
                  <a:pt x="292893" y="189437"/>
                </a:lnTo>
              </a:path>
            </a:pathLst>
          </a:custGeom>
          <a:noFill/>
          <a:ln w="14287">
            <a:solidFill>
              <a:srgbClr val="FFFFFF"/>
            </a:solidFill>
          </a:ln>
        </p:spPr>
        <p:txBody>
          <a:bodyPr rtlCol="0" anchor="ctr"/>
          <a:lstStyle/>
          <a:p>
            <a:pPr algn="ctr"/>
            <a:endParaRPr/>
          </a:p>
        </p:txBody>
      </p:sp>
      <p:sp>
        <p:nvSpPr>
          <p:cNvPr id="66" name="Rounded Rectangle 19">
            <a:extLst>
              <a:ext uri="{FF2B5EF4-FFF2-40B4-BE49-F238E27FC236}">
                <a16:creationId xmlns:a16="http://schemas.microsoft.com/office/drawing/2014/main" id="{B01F700B-DADE-F253-A528-CE5BD7E502CC}"/>
              </a:ext>
            </a:extLst>
          </p:cNvPr>
          <p:cNvSpPr/>
          <p:nvPr/>
        </p:nvSpPr>
        <p:spPr>
          <a:xfrm>
            <a:off x="5300820" y="3141691"/>
            <a:ext cx="328612" cy="328612"/>
          </a:xfrm>
          <a:custGeom>
            <a:avLst/>
            <a:gdLst/>
            <a:ahLst/>
            <a:cxnLst/>
            <a:rect l="0" t="0" r="0" b="0"/>
            <a:pathLst>
              <a:path w="328612" h="328612">
                <a:moveTo>
                  <a:pt x="157162" y="253603"/>
                </a:moveTo>
                <a:cubicBezTo>
                  <a:pt x="157162" y="271357"/>
                  <a:pt x="171555" y="285750"/>
                  <a:pt x="189309" y="285750"/>
                </a:cubicBezTo>
                <a:cubicBezTo>
                  <a:pt x="207063" y="285750"/>
                  <a:pt x="221456" y="271357"/>
                  <a:pt x="221456" y="253603"/>
                </a:cubicBezTo>
                <a:cubicBezTo>
                  <a:pt x="221456" y="235848"/>
                  <a:pt x="207063" y="221456"/>
                  <a:pt x="189309" y="221456"/>
                </a:cubicBezTo>
                <a:cubicBezTo>
                  <a:pt x="171555" y="221456"/>
                  <a:pt x="157162" y="235848"/>
                  <a:pt x="157162" y="253603"/>
                </a:cubicBezTo>
                <a:close/>
                <a:moveTo>
                  <a:pt x="264318" y="296465"/>
                </a:moveTo>
                <a:cubicBezTo>
                  <a:pt x="264318" y="314219"/>
                  <a:pt x="278711" y="328612"/>
                  <a:pt x="296465" y="328612"/>
                </a:cubicBezTo>
                <a:cubicBezTo>
                  <a:pt x="314219" y="328612"/>
                  <a:pt x="328612" y="314219"/>
                  <a:pt x="328612" y="296465"/>
                </a:cubicBezTo>
                <a:cubicBezTo>
                  <a:pt x="328612" y="278711"/>
                  <a:pt x="314219" y="264318"/>
                  <a:pt x="296465" y="264318"/>
                </a:cubicBezTo>
                <a:cubicBezTo>
                  <a:pt x="278711" y="264318"/>
                  <a:pt x="264318" y="278711"/>
                  <a:pt x="264318" y="296465"/>
                </a:cubicBezTo>
                <a:close/>
                <a:moveTo>
                  <a:pt x="264318" y="189309"/>
                </a:moveTo>
                <a:cubicBezTo>
                  <a:pt x="264318" y="207063"/>
                  <a:pt x="278711" y="221456"/>
                  <a:pt x="296465" y="221456"/>
                </a:cubicBezTo>
                <a:cubicBezTo>
                  <a:pt x="314219" y="221456"/>
                  <a:pt x="328612" y="207063"/>
                  <a:pt x="328612" y="189309"/>
                </a:cubicBezTo>
                <a:cubicBezTo>
                  <a:pt x="328612" y="171555"/>
                  <a:pt x="314219" y="157162"/>
                  <a:pt x="296465" y="157162"/>
                </a:cubicBezTo>
                <a:cubicBezTo>
                  <a:pt x="278711" y="157162"/>
                  <a:pt x="264318" y="171555"/>
                  <a:pt x="264318" y="189309"/>
                </a:cubicBezTo>
                <a:close/>
                <a:moveTo>
                  <a:pt x="216812" y="237101"/>
                </a:moveTo>
                <a:lnTo>
                  <a:pt x="268962" y="205811"/>
                </a:lnTo>
                <a:moveTo>
                  <a:pt x="219141" y="265533"/>
                </a:moveTo>
                <a:lnTo>
                  <a:pt x="266633" y="284535"/>
                </a:lnTo>
                <a:moveTo>
                  <a:pt x="71437" y="285750"/>
                </a:moveTo>
                <a:lnTo>
                  <a:pt x="114300" y="285750"/>
                </a:lnTo>
                <a:moveTo>
                  <a:pt x="114314" y="214312"/>
                </a:moveTo>
                <a:lnTo>
                  <a:pt x="114314" y="285750"/>
                </a:lnTo>
                <a:moveTo>
                  <a:pt x="39290" y="278606"/>
                </a:moveTo>
                <a:cubicBezTo>
                  <a:pt x="37317" y="278606"/>
                  <a:pt x="35718" y="280205"/>
                  <a:pt x="35718" y="282178"/>
                </a:cubicBezTo>
                <a:cubicBezTo>
                  <a:pt x="35718" y="284150"/>
                  <a:pt x="37317" y="285750"/>
                  <a:pt x="39290" y="285750"/>
                </a:cubicBezTo>
                <a:cubicBezTo>
                  <a:pt x="41263" y="285750"/>
                  <a:pt x="42862" y="284150"/>
                  <a:pt x="42862" y="282178"/>
                </a:cubicBezTo>
                <a:cubicBezTo>
                  <a:pt x="42862" y="280205"/>
                  <a:pt x="41263" y="278606"/>
                  <a:pt x="39290" y="278606"/>
                </a:cubicBezTo>
                <a:lnTo>
                  <a:pt x="39290" y="278606"/>
                </a:lnTo>
                <a:moveTo>
                  <a:pt x="3571" y="278606"/>
                </a:moveTo>
                <a:cubicBezTo>
                  <a:pt x="1599" y="278606"/>
                  <a:pt x="0" y="280205"/>
                  <a:pt x="0" y="282178"/>
                </a:cubicBezTo>
                <a:cubicBezTo>
                  <a:pt x="0" y="284150"/>
                  <a:pt x="1599" y="285750"/>
                  <a:pt x="3571" y="285750"/>
                </a:cubicBezTo>
                <a:cubicBezTo>
                  <a:pt x="5544" y="285750"/>
                  <a:pt x="7143" y="284150"/>
                  <a:pt x="7143" y="282178"/>
                </a:cubicBezTo>
                <a:cubicBezTo>
                  <a:pt x="7143" y="280205"/>
                  <a:pt x="5544" y="278606"/>
                  <a:pt x="3571" y="278606"/>
                </a:cubicBezTo>
                <a:lnTo>
                  <a:pt x="3571" y="278606"/>
                </a:lnTo>
                <a:moveTo>
                  <a:pt x="53578" y="175021"/>
                </a:moveTo>
                <a:cubicBezTo>
                  <a:pt x="51605" y="175021"/>
                  <a:pt x="50006" y="176621"/>
                  <a:pt x="50006" y="178593"/>
                </a:cubicBezTo>
                <a:cubicBezTo>
                  <a:pt x="50006" y="180566"/>
                  <a:pt x="51605" y="182165"/>
                  <a:pt x="53578" y="182165"/>
                </a:cubicBezTo>
                <a:cubicBezTo>
                  <a:pt x="55550" y="182165"/>
                  <a:pt x="57150" y="180566"/>
                  <a:pt x="57150" y="178593"/>
                </a:cubicBezTo>
                <a:cubicBezTo>
                  <a:pt x="57150" y="176621"/>
                  <a:pt x="55550" y="175021"/>
                  <a:pt x="53578" y="175021"/>
                </a:cubicBezTo>
                <a:lnTo>
                  <a:pt x="53578" y="175021"/>
                </a:lnTo>
                <a:moveTo>
                  <a:pt x="89296" y="175021"/>
                </a:moveTo>
                <a:cubicBezTo>
                  <a:pt x="87324" y="175021"/>
                  <a:pt x="85725" y="176621"/>
                  <a:pt x="85725" y="178593"/>
                </a:cubicBezTo>
                <a:cubicBezTo>
                  <a:pt x="85725" y="180566"/>
                  <a:pt x="87324" y="182165"/>
                  <a:pt x="89296" y="182165"/>
                </a:cubicBezTo>
                <a:cubicBezTo>
                  <a:pt x="91269" y="182165"/>
                  <a:pt x="92868" y="180566"/>
                  <a:pt x="92868" y="178593"/>
                </a:cubicBezTo>
                <a:cubicBezTo>
                  <a:pt x="92868" y="176621"/>
                  <a:pt x="91269" y="175021"/>
                  <a:pt x="89296" y="175021"/>
                </a:cubicBezTo>
                <a:lnTo>
                  <a:pt x="89296" y="175021"/>
                </a:lnTo>
                <a:moveTo>
                  <a:pt x="171450" y="142875"/>
                </a:moveTo>
                <a:lnTo>
                  <a:pt x="35718" y="142875"/>
                </a:lnTo>
                <a:cubicBezTo>
                  <a:pt x="15991" y="142875"/>
                  <a:pt x="0" y="158866"/>
                  <a:pt x="0" y="178593"/>
                </a:cubicBezTo>
                <a:cubicBezTo>
                  <a:pt x="0" y="198320"/>
                  <a:pt x="15991" y="214312"/>
                  <a:pt x="35718" y="214312"/>
                </a:cubicBezTo>
                <a:lnTo>
                  <a:pt x="128587" y="214312"/>
                </a:lnTo>
                <a:moveTo>
                  <a:pt x="53578" y="32146"/>
                </a:moveTo>
                <a:lnTo>
                  <a:pt x="53578" y="32146"/>
                </a:lnTo>
                <a:cubicBezTo>
                  <a:pt x="55550" y="32146"/>
                  <a:pt x="57150" y="33746"/>
                  <a:pt x="57150" y="35718"/>
                </a:cubicBezTo>
                <a:cubicBezTo>
                  <a:pt x="57150" y="37691"/>
                  <a:pt x="55550" y="39290"/>
                  <a:pt x="53578" y="39290"/>
                </a:cubicBezTo>
                <a:cubicBezTo>
                  <a:pt x="51605" y="39290"/>
                  <a:pt x="50006" y="37691"/>
                  <a:pt x="50006" y="35718"/>
                </a:cubicBezTo>
                <a:cubicBezTo>
                  <a:pt x="50006" y="33746"/>
                  <a:pt x="51605" y="32146"/>
                  <a:pt x="53578" y="32146"/>
                </a:cubicBezTo>
                <a:moveTo>
                  <a:pt x="89296" y="32146"/>
                </a:moveTo>
                <a:lnTo>
                  <a:pt x="89296" y="32146"/>
                </a:lnTo>
                <a:cubicBezTo>
                  <a:pt x="91269" y="32146"/>
                  <a:pt x="92868" y="33746"/>
                  <a:pt x="92868" y="35718"/>
                </a:cubicBezTo>
                <a:cubicBezTo>
                  <a:pt x="92868" y="37691"/>
                  <a:pt x="91269" y="39290"/>
                  <a:pt x="89296" y="39290"/>
                </a:cubicBezTo>
                <a:cubicBezTo>
                  <a:pt x="87324" y="39290"/>
                  <a:pt x="85725" y="37691"/>
                  <a:pt x="85725" y="35718"/>
                </a:cubicBezTo>
                <a:cubicBezTo>
                  <a:pt x="85725" y="33746"/>
                  <a:pt x="87324" y="32146"/>
                  <a:pt x="89296" y="32146"/>
                </a:cubicBezTo>
                <a:moveTo>
                  <a:pt x="242887" y="35718"/>
                </a:moveTo>
                <a:cubicBezTo>
                  <a:pt x="242887" y="15991"/>
                  <a:pt x="226895" y="0"/>
                  <a:pt x="207168" y="0"/>
                </a:cubicBezTo>
                <a:lnTo>
                  <a:pt x="35718" y="0"/>
                </a:lnTo>
                <a:cubicBezTo>
                  <a:pt x="15991" y="0"/>
                  <a:pt x="0" y="15991"/>
                  <a:pt x="0" y="35718"/>
                </a:cubicBezTo>
                <a:cubicBezTo>
                  <a:pt x="0" y="55445"/>
                  <a:pt x="15991" y="71437"/>
                  <a:pt x="35718" y="71437"/>
                </a:cubicBezTo>
                <a:lnTo>
                  <a:pt x="207168" y="71437"/>
                </a:lnTo>
                <a:cubicBezTo>
                  <a:pt x="226895" y="71437"/>
                  <a:pt x="242887" y="55445"/>
                  <a:pt x="242887" y="35718"/>
                </a:cubicBezTo>
                <a:close/>
                <a:moveTo>
                  <a:pt x="53578" y="103584"/>
                </a:moveTo>
                <a:lnTo>
                  <a:pt x="53578" y="103584"/>
                </a:lnTo>
                <a:cubicBezTo>
                  <a:pt x="55550" y="103584"/>
                  <a:pt x="57150" y="105183"/>
                  <a:pt x="57150" y="107156"/>
                </a:cubicBezTo>
                <a:cubicBezTo>
                  <a:pt x="57150" y="109128"/>
                  <a:pt x="55550" y="110728"/>
                  <a:pt x="53578" y="110728"/>
                </a:cubicBezTo>
                <a:cubicBezTo>
                  <a:pt x="51605" y="110728"/>
                  <a:pt x="50006" y="109128"/>
                  <a:pt x="50006" y="107156"/>
                </a:cubicBezTo>
                <a:cubicBezTo>
                  <a:pt x="50006" y="105183"/>
                  <a:pt x="51605" y="103584"/>
                  <a:pt x="53578" y="103584"/>
                </a:cubicBezTo>
                <a:moveTo>
                  <a:pt x="89296" y="103584"/>
                </a:moveTo>
                <a:lnTo>
                  <a:pt x="89296" y="103584"/>
                </a:lnTo>
                <a:cubicBezTo>
                  <a:pt x="91269" y="103584"/>
                  <a:pt x="92868" y="105183"/>
                  <a:pt x="92868" y="107156"/>
                </a:cubicBezTo>
                <a:cubicBezTo>
                  <a:pt x="92868" y="109128"/>
                  <a:pt x="91269" y="110728"/>
                  <a:pt x="89296" y="110728"/>
                </a:cubicBezTo>
                <a:cubicBezTo>
                  <a:pt x="87324" y="110728"/>
                  <a:pt x="85725" y="109128"/>
                  <a:pt x="85725" y="107156"/>
                </a:cubicBezTo>
                <a:cubicBezTo>
                  <a:pt x="85725" y="105183"/>
                  <a:pt x="87324" y="103584"/>
                  <a:pt x="89296" y="103584"/>
                </a:cubicBezTo>
                <a:moveTo>
                  <a:pt x="242887" y="107156"/>
                </a:moveTo>
                <a:cubicBezTo>
                  <a:pt x="242887" y="87429"/>
                  <a:pt x="226895" y="71437"/>
                  <a:pt x="207168" y="71437"/>
                </a:cubicBezTo>
                <a:lnTo>
                  <a:pt x="35718" y="71437"/>
                </a:lnTo>
                <a:cubicBezTo>
                  <a:pt x="15991" y="71437"/>
                  <a:pt x="0" y="87429"/>
                  <a:pt x="0" y="107156"/>
                </a:cubicBezTo>
                <a:cubicBezTo>
                  <a:pt x="0" y="126883"/>
                  <a:pt x="15991" y="142875"/>
                  <a:pt x="35718" y="142875"/>
                </a:cubicBezTo>
                <a:lnTo>
                  <a:pt x="207168" y="142875"/>
                </a:lnTo>
                <a:cubicBezTo>
                  <a:pt x="226895" y="142875"/>
                  <a:pt x="242887" y="126883"/>
                  <a:pt x="242887" y="107156"/>
                </a:cubicBezTo>
                <a:close/>
              </a:path>
            </a:pathLst>
          </a:custGeom>
          <a:noFill/>
          <a:ln w="14287">
            <a:solidFill>
              <a:srgbClr val="FFFFFF"/>
            </a:solidFill>
          </a:ln>
        </p:spPr>
        <p:txBody>
          <a:bodyPr rtlCol="0" anchor="ctr"/>
          <a:lstStyle/>
          <a:p>
            <a:pPr algn="ctr"/>
            <a:endParaRPr/>
          </a:p>
        </p:txBody>
      </p:sp>
      <p:sp>
        <p:nvSpPr>
          <p:cNvPr id="67" name="Rounded Rectangle 20">
            <a:extLst>
              <a:ext uri="{FF2B5EF4-FFF2-40B4-BE49-F238E27FC236}">
                <a16:creationId xmlns:a16="http://schemas.microsoft.com/office/drawing/2014/main" id="{89B108D5-7A25-AA3F-0079-27242822B78F}"/>
              </a:ext>
            </a:extLst>
          </p:cNvPr>
          <p:cNvSpPr/>
          <p:nvPr/>
        </p:nvSpPr>
        <p:spPr>
          <a:xfrm>
            <a:off x="5329395" y="3827491"/>
            <a:ext cx="271462" cy="328612"/>
          </a:xfrm>
          <a:custGeom>
            <a:avLst/>
            <a:gdLst/>
            <a:ahLst/>
            <a:cxnLst/>
            <a:rect l="0" t="0" r="0" b="0"/>
            <a:pathLst>
              <a:path w="271462" h="328612">
                <a:moveTo>
                  <a:pt x="267276" y="57150"/>
                </a:moveTo>
                <a:cubicBezTo>
                  <a:pt x="269955" y="59828"/>
                  <a:pt x="271461" y="63462"/>
                  <a:pt x="271462" y="67251"/>
                </a:cubicBezTo>
                <a:lnTo>
                  <a:pt x="271462" y="314325"/>
                </a:lnTo>
                <a:cubicBezTo>
                  <a:pt x="271462" y="322215"/>
                  <a:pt x="265065" y="328612"/>
                  <a:pt x="257175" y="328612"/>
                </a:cubicBezTo>
                <a:lnTo>
                  <a:pt x="14287" y="328612"/>
                </a:lnTo>
                <a:cubicBezTo>
                  <a:pt x="6396" y="328612"/>
                  <a:pt x="0" y="322215"/>
                  <a:pt x="0" y="314325"/>
                </a:cubicBezTo>
                <a:lnTo>
                  <a:pt x="0" y="14287"/>
                </a:lnTo>
                <a:cubicBezTo>
                  <a:pt x="0" y="6396"/>
                  <a:pt x="6396" y="0"/>
                  <a:pt x="14287" y="0"/>
                </a:cubicBezTo>
                <a:lnTo>
                  <a:pt x="204211" y="0"/>
                </a:lnTo>
                <a:cubicBezTo>
                  <a:pt x="208000" y="0"/>
                  <a:pt x="211633" y="1506"/>
                  <a:pt x="214312" y="4186"/>
                </a:cubicBezTo>
                <a:close/>
                <a:moveTo>
                  <a:pt x="71437" y="242887"/>
                </a:moveTo>
                <a:cubicBezTo>
                  <a:pt x="71437" y="258669"/>
                  <a:pt x="100222" y="271462"/>
                  <a:pt x="135731" y="271462"/>
                </a:cubicBezTo>
                <a:cubicBezTo>
                  <a:pt x="171239" y="271462"/>
                  <a:pt x="200025" y="258669"/>
                  <a:pt x="200025" y="242887"/>
                </a:cubicBezTo>
                <a:cubicBezTo>
                  <a:pt x="200025" y="227105"/>
                  <a:pt x="171239" y="214312"/>
                  <a:pt x="135731" y="214312"/>
                </a:cubicBezTo>
                <a:cubicBezTo>
                  <a:pt x="100222" y="214312"/>
                  <a:pt x="71437" y="227105"/>
                  <a:pt x="71437" y="242887"/>
                </a:cubicBezTo>
                <a:close/>
                <a:moveTo>
                  <a:pt x="75952" y="232343"/>
                </a:moveTo>
                <a:lnTo>
                  <a:pt x="129158" y="108184"/>
                </a:lnTo>
                <a:cubicBezTo>
                  <a:pt x="130281" y="105550"/>
                  <a:pt x="132867" y="103840"/>
                  <a:pt x="135731" y="103840"/>
                </a:cubicBezTo>
                <a:cubicBezTo>
                  <a:pt x="138594" y="103840"/>
                  <a:pt x="141181" y="105550"/>
                  <a:pt x="142303" y="108184"/>
                </a:cubicBezTo>
                <a:lnTo>
                  <a:pt x="195510" y="232343"/>
                </a:lnTo>
              </a:path>
            </a:pathLst>
          </a:custGeom>
          <a:noFill/>
          <a:ln w="14287">
            <a:solidFill>
              <a:srgbClr val="FFFFFF"/>
            </a:solidFill>
          </a:ln>
        </p:spPr>
        <p:txBody>
          <a:bodyPr rtlCol="0" anchor="ctr"/>
          <a:lstStyle/>
          <a:p>
            <a:pPr algn="ctr"/>
            <a:endParaRPr/>
          </a:p>
        </p:txBody>
      </p:sp>
      <p:sp>
        <p:nvSpPr>
          <p:cNvPr id="68" name="Rounded Rectangle 21">
            <a:extLst>
              <a:ext uri="{FF2B5EF4-FFF2-40B4-BE49-F238E27FC236}">
                <a16:creationId xmlns:a16="http://schemas.microsoft.com/office/drawing/2014/main" id="{104CEC3C-C2AB-DDD0-4FC6-6BE7C6C9BAE2}"/>
              </a:ext>
            </a:extLst>
          </p:cNvPr>
          <p:cNvSpPr/>
          <p:nvPr/>
        </p:nvSpPr>
        <p:spPr>
          <a:xfrm>
            <a:off x="5293676" y="4506148"/>
            <a:ext cx="335756" cy="335756"/>
          </a:xfrm>
          <a:custGeom>
            <a:avLst/>
            <a:gdLst/>
            <a:ahLst/>
            <a:cxnLst/>
            <a:rect l="0" t="0" r="0" b="0"/>
            <a:pathLst>
              <a:path w="335756" h="335756">
                <a:moveTo>
                  <a:pt x="0" y="0"/>
                </a:moveTo>
                <a:moveTo>
                  <a:pt x="221456" y="78581"/>
                </a:moveTo>
                <a:lnTo>
                  <a:pt x="237944" y="97155"/>
                </a:lnTo>
                <a:cubicBezTo>
                  <a:pt x="239185" y="98814"/>
                  <a:pt x="241086" y="99853"/>
                  <a:pt x="243154" y="100001"/>
                </a:cubicBezTo>
                <a:cubicBezTo>
                  <a:pt x="245221" y="100149"/>
                  <a:pt x="247251" y="99392"/>
                  <a:pt x="248716" y="97926"/>
                </a:cubicBezTo>
                <a:lnTo>
                  <a:pt x="292893" y="57150"/>
                </a:lnTo>
                <a:moveTo>
                  <a:pt x="221456" y="164306"/>
                </a:moveTo>
                <a:lnTo>
                  <a:pt x="237944" y="182880"/>
                </a:lnTo>
                <a:cubicBezTo>
                  <a:pt x="239185" y="184539"/>
                  <a:pt x="241086" y="185578"/>
                  <a:pt x="243154" y="185726"/>
                </a:cubicBezTo>
                <a:cubicBezTo>
                  <a:pt x="245221" y="185874"/>
                  <a:pt x="247251" y="185117"/>
                  <a:pt x="248716" y="183651"/>
                </a:cubicBezTo>
                <a:lnTo>
                  <a:pt x="292893" y="142875"/>
                </a:lnTo>
                <a:moveTo>
                  <a:pt x="335756" y="244116"/>
                </a:moveTo>
                <a:cubicBezTo>
                  <a:pt x="335755" y="247905"/>
                  <a:pt x="334249" y="251538"/>
                  <a:pt x="331570" y="254217"/>
                </a:cubicBezTo>
                <a:lnTo>
                  <a:pt x="254217" y="331570"/>
                </a:lnTo>
                <a:cubicBezTo>
                  <a:pt x="251538" y="334249"/>
                  <a:pt x="247905" y="335755"/>
                  <a:pt x="244116" y="335756"/>
                </a:cubicBezTo>
                <a:lnTo>
                  <a:pt x="21431" y="335756"/>
                </a:lnTo>
                <a:cubicBezTo>
                  <a:pt x="13540" y="335756"/>
                  <a:pt x="7143" y="329359"/>
                  <a:pt x="7143" y="321468"/>
                </a:cubicBezTo>
                <a:lnTo>
                  <a:pt x="7143" y="21431"/>
                </a:lnTo>
                <a:cubicBezTo>
                  <a:pt x="7143" y="13540"/>
                  <a:pt x="13540" y="7143"/>
                  <a:pt x="21431" y="7143"/>
                </a:cubicBezTo>
                <a:lnTo>
                  <a:pt x="321468" y="7143"/>
                </a:lnTo>
                <a:cubicBezTo>
                  <a:pt x="329359" y="7143"/>
                  <a:pt x="335756" y="13540"/>
                  <a:pt x="335756" y="21431"/>
                </a:cubicBezTo>
                <a:close/>
                <a:moveTo>
                  <a:pt x="250031" y="334470"/>
                </a:moveTo>
                <a:lnTo>
                  <a:pt x="250031" y="264318"/>
                </a:lnTo>
                <a:cubicBezTo>
                  <a:pt x="250031" y="256427"/>
                  <a:pt x="256427" y="250031"/>
                  <a:pt x="264318" y="250031"/>
                </a:cubicBezTo>
                <a:lnTo>
                  <a:pt x="334470" y="250031"/>
                </a:lnTo>
                <a:moveTo>
                  <a:pt x="50006" y="235743"/>
                </a:moveTo>
                <a:lnTo>
                  <a:pt x="164306" y="235743"/>
                </a:lnTo>
                <a:moveTo>
                  <a:pt x="50006" y="278606"/>
                </a:moveTo>
                <a:lnTo>
                  <a:pt x="164306" y="278606"/>
                </a:lnTo>
                <a:moveTo>
                  <a:pt x="121443" y="192881"/>
                </a:moveTo>
                <a:lnTo>
                  <a:pt x="121443" y="85725"/>
                </a:lnTo>
                <a:lnTo>
                  <a:pt x="60350" y="55178"/>
                </a:lnTo>
                <a:cubicBezTo>
                  <a:pt x="58135" y="54068"/>
                  <a:pt x="55504" y="54185"/>
                  <a:pt x="53397" y="55486"/>
                </a:cubicBezTo>
                <a:cubicBezTo>
                  <a:pt x="51289" y="56787"/>
                  <a:pt x="50006" y="59087"/>
                  <a:pt x="50006" y="61564"/>
                </a:cubicBezTo>
                <a:lnTo>
                  <a:pt x="50006" y="185737"/>
                </a:lnTo>
                <a:cubicBezTo>
                  <a:pt x="50006" y="189682"/>
                  <a:pt x="53204" y="192881"/>
                  <a:pt x="57150" y="192881"/>
                </a:cubicBezTo>
                <a:close/>
                <a:moveTo>
                  <a:pt x="121443" y="192881"/>
                </a:moveTo>
                <a:lnTo>
                  <a:pt x="171450" y="192881"/>
                </a:lnTo>
                <a:cubicBezTo>
                  <a:pt x="175395" y="192881"/>
                  <a:pt x="178593" y="189682"/>
                  <a:pt x="178593" y="185737"/>
                </a:cubicBezTo>
                <a:lnTo>
                  <a:pt x="178593" y="114300"/>
                </a:lnTo>
                <a:cubicBezTo>
                  <a:pt x="178593" y="110354"/>
                  <a:pt x="175395" y="107156"/>
                  <a:pt x="171450" y="107156"/>
                </a:cubicBezTo>
                <a:lnTo>
                  <a:pt x="121443" y="107156"/>
                </a:lnTo>
                <a:moveTo>
                  <a:pt x="50006" y="107156"/>
                </a:moveTo>
                <a:lnTo>
                  <a:pt x="85725" y="107156"/>
                </a:lnTo>
                <a:moveTo>
                  <a:pt x="50006" y="135731"/>
                </a:moveTo>
                <a:lnTo>
                  <a:pt x="85725" y="135731"/>
                </a:lnTo>
                <a:moveTo>
                  <a:pt x="121443" y="85725"/>
                </a:moveTo>
                <a:lnTo>
                  <a:pt x="121443" y="50006"/>
                </a:lnTo>
                <a:moveTo>
                  <a:pt x="164306" y="107156"/>
                </a:moveTo>
                <a:lnTo>
                  <a:pt x="164306" y="71437"/>
                </a:lnTo>
                <a:moveTo>
                  <a:pt x="121443" y="135731"/>
                </a:moveTo>
                <a:lnTo>
                  <a:pt x="142875" y="135731"/>
                </a:lnTo>
                <a:moveTo>
                  <a:pt x="121443" y="164306"/>
                </a:moveTo>
                <a:lnTo>
                  <a:pt x="142875" y="164306"/>
                </a:lnTo>
              </a:path>
            </a:pathLst>
          </a:custGeom>
          <a:noFill/>
          <a:ln w="14287">
            <a:solidFill>
              <a:srgbClr val="FFFFFF"/>
            </a:solidFill>
          </a:ln>
        </p:spPr>
        <p:txBody>
          <a:bodyPr rtlCol="0" anchor="ctr"/>
          <a:lstStyle/>
          <a:p>
            <a:pPr algn="ctr"/>
            <a:endParaRPr/>
          </a:p>
        </p:txBody>
      </p:sp>
      <p:sp>
        <p:nvSpPr>
          <p:cNvPr id="69" name="Rectangle 68">
            <a:extLst>
              <a:ext uri="{FF2B5EF4-FFF2-40B4-BE49-F238E27FC236}">
                <a16:creationId xmlns:a16="http://schemas.microsoft.com/office/drawing/2014/main" id="{582DF5FB-B11A-3068-3E0F-C36E6811EEB3}"/>
              </a:ext>
            </a:extLst>
          </p:cNvPr>
          <p:cNvSpPr/>
          <p:nvPr/>
        </p:nvSpPr>
        <p:spPr>
          <a:xfrm>
            <a:off x="1952710" y="1973554"/>
            <a:ext cx="8290874" cy="3912124"/>
          </a:xfrm>
          <a:prstGeom prst="rect">
            <a:avLst/>
          </a:prstGeom>
          <a:noFill/>
          <a:ln w="63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97505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PMWG Work Streams</a:t>
            </a:r>
          </a:p>
        </p:txBody>
      </p:sp>
      <p:sp>
        <p:nvSpPr>
          <p:cNvPr id="3" name="Rectangle 2">
            <a:extLst>
              <a:ext uri="{FF2B5EF4-FFF2-40B4-BE49-F238E27FC236}">
                <a16:creationId xmlns:a16="http://schemas.microsoft.com/office/drawing/2014/main" id="{C2135499-2C24-4475-846E-63D5581AF4D5}"/>
              </a:ext>
            </a:extLst>
          </p:cNvPr>
          <p:cNvSpPr/>
          <p:nvPr/>
        </p:nvSpPr>
        <p:spPr>
          <a:xfrm flipH="1">
            <a:off x="-9" y="3319033"/>
            <a:ext cx="12192008" cy="24063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D9704253-50BC-4D54-B13F-42A690BE0726}"/>
              </a:ext>
            </a:extLst>
          </p:cNvPr>
          <p:cNvGrpSpPr/>
          <p:nvPr/>
        </p:nvGrpSpPr>
        <p:grpSpPr>
          <a:xfrm>
            <a:off x="638390" y="1794014"/>
            <a:ext cx="2533307" cy="4027067"/>
            <a:chOff x="576758" y="1481664"/>
            <a:chExt cx="2533307" cy="4027067"/>
          </a:xfrm>
        </p:grpSpPr>
        <p:sp>
          <p:nvSpPr>
            <p:cNvPr id="7" name="TextBox 6">
              <a:extLst>
                <a:ext uri="{FF2B5EF4-FFF2-40B4-BE49-F238E27FC236}">
                  <a16:creationId xmlns:a16="http://schemas.microsoft.com/office/drawing/2014/main" id="{D50105D4-D46F-4914-94E1-D0FCF31FD25D}"/>
                </a:ext>
              </a:extLst>
            </p:cNvPr>
            <p:cNvSpPr txBox="1"/>
            <p:nvPr/>
          </p:nvSpPr>
          <p:spPr>
            <a:xfrm>
              <a:off x="636041" y="2594755"/>
              <a:ext cx="2474024" cy="27699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lumMod val="85000"/>
                      <a:lumOff val="15000"/>
                    </a:srgbClr>
                  </a:solidFill>
                  <a:effectLst/>
                  <a:uLnTx/>
                  <a:uFillTx/>
                  <a:ea typeface="+mn-ea"/>
                  <a:cs typeface="Arial" panose="020B0604020202020204" pitchFamily="34" charset="0"/>
                </a:rPr>
                <a:t>Taxonomy</a:t>
              </a:r>
            </a:p>
          </p:txBody>
        </p:sp>
        <p:grpSp>
          <p:nvGrpSpPr>
            <p:cNvPr id="8" name="Group 7">
              <a:extLst>
                <a:ext uri="{FF2B5EF4-FFF2-40B4-BE49-F238E27FC236}">
                  <a16:creationId xmlns:a16="http://schemas.microsoft.com/office/drawing/2014/main" id="{A32EEB15-77FA-4FC9-93BF-F494BA799B38}"/>
                </a:ext>
              </a:extLst>
            </p:cNvPr>
            <p:cNvGrpSpPr/>
            <p:nvPr/>
          </p:nvGrpSpPr>
          <p:grpSpPr>
            <a:xfrm>
              <a:off x="576758" y="1481664"/>
              <a:ext cx="2416221" cy="4027067"/>
              <a:chOff x="576758" y="1481664"/>
              <a:chExt cx="2416221" cy="4027067"/>
            </a:xfrm>
          </p:grpSpPr>
          <p:grpSp>
            <p:nvGrpSpPr>
              <p:cNvPr id="10" name="Group 9">
                <a:extLst>
                  <a:ext uri="{FF2B5EF4-FFF2-40B4-BE49-F238E27FC236}">
                    <a16:creationId xmlns:a16="http://schemas.microsoft.com/office/drawing/2014/main" id="{467B5028-DD6A-4A41-B319-33D418BF874E}"/>
                  </a:ext>
                </a:extLst>
              </p:cNvPr>
              <p:cNvGrpSpPr/>
              <p:nvPr/>
            </p:nvGrpSpPr>
            <p:grpSpPr>
              <a:xfrm>
                <a:off x="576758" y="1481664"/>
                <a:ext cx="2416221" cy="4027067"/>
                <a:chOff x="741142" y="1481664"/>
                <a:chExt cx="2416221" cy="4027067"/>
              </a:xfrm>
            </p:grpSpPr>
            <p:grpSp>
              <p:nvGrpSpPr>
                <p:cNvPr id="12" name="Group 11">
                  <a:extLst>
                    <a:ext uri="{FF2B5EF4-FFF2-40B4-BE49-F238E27FC236}">
                      <a16:creationId xmlns:a16="http://schemas.microsoft.com/office/drawing/2014/main" id="{3437C58E-F34D-468F-8045-3107CEF7FA57}"/>
                    </a:ext>
                  </a:extLst>
                </p:cNvPr>
                <p:cNvGrpSpPr/>
                <p:nvPr/>
              </p:nvGrpSpPr>
              <p:grpSpPr>
                <a:xfrm>
                  <a:off x="741142" y="1865780"/>
                  <a:ext cx="2416221" cy="3642951"/>
                  <a:chOff x="999916" y="1724312"/>
                  <a:chExt cx="2447778" cy="3905733"/>
                </a:xfrm>
              </p:grpSpPr>
              <p:sp>
                <p:nvSpPr>
                  <p:cNvPr id="16" name="Rectangle 15">
                    <a:extLst>
                      <a:ext uri="{FF2B5EF4-FFF2-40B4-BE49-F238E27FC236}">
                        <a16:creationId xmlns:a16="http://schemas.microsoft.com/office/drawing/2014/main" id="{8F04E6F8-50A5-49F3-A569-4E2C629D79AF}"/>
                      </a:ext>
                    </a:extLst>
                  </p:cNvPr>
                  <p:cNvSpPr/>
                  <p:nvPr/>
                </p:nvSpPr>
                <p:spPr>
                  <a:xfrm>
                    <a:off x="1010990" y="2948592"/>
                    <a:ext cx="2378640" cy="2578346"/>
                  </a:xfrm>
                  <a:prstGeom prst="rect">
                    <a:avLst/>
                  </a:prstGeom>
                  <a:solidFill>
                    <a:schemeClr val="bg2">
                      <a:alpha val="10000"/>
                    </a:scheme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Rectangle 6">
                    <a:extLst>
                      <a:ext uri="{FF2B5EF4-FFF2-40B4-BE49-F238E27FC236}">
                        <a16:creationId xmlns:a16="http://schemas.microsoft.com/office/drawing/2014/main" id="{FC02FE71-3FC7-48A5-B056-18D4A8526470}"/>
                      </a:ext>
                    </a:extLst>
                  </p:cNvPr>
                  <p:cNvSpPr/>
                  <p:nvPr/>
                </p:nvSpPr>
                <p:spPr>
                  <a:xfrm>
                    <a:off x="999916" y="1724312"/>
                    <a:ext cx="2447778" cy="3905733"/>
                  </a:xfrm>
                  <a:custGeom>
                    <a:avLst/>
                    <a:gdLst>
                      <a:gd name="connsiteX0" fmla="*/ 0 w 2283087"/>
                      <a:gd name="connsiteY0" fmla="*/ 0 h 4188716"/>
                      <a:gd name="connsiteX1" fmla="*/ 2283087 w 2283087"/>
                      <a:gd name="connsiteY1" fmla="*/ 0 h 4188716"/>
                      <a:gd name="connsiteX2" fmla="*/ 2283087 w 2283087"/>
                      <a:gd name="connsiteY2" fmla="*/ 4188716 h 4188716"/>
                      <a:gd name="connsiteX3" fmla="*/ 0 w 2283087"/>
                      <a:gd name="connsiteY3" fmla="*/ 4188716 h 4188716"/>
                      <a:gd name="connsiteX4" fmla="*/ 0 w 2283087"/>
                      <a:gd name="connsiteY4" fmla="*/ 0 h 4188716"/>
                      <a:gd name="connsiteX0" fmla="*/ 0 w 2283087"/>
                      <a:gd name="connsiteY0" fmla="*/ 5269 h 4193985"/>
                      <a:gd name="connsiteX1" fmla="*/ 1141223 w 2283087"/>
                      <a:gd name="connsiteY1" fmla="*/ 0 h 4193985"/>
                      <a:gd name="connsiteX2" fmla="*/ 2283087 w 2283087"/>
                      <a:gd name="connsiteY2" fmla="*/ 5269 h 4193985"/>
                      <a:gd name="connsiteX3" fmla="*/ 2283087 w 2283087"/>
                      <a:gd name="connsiteY3" fmla="*/ 4193985 h 4193985"/>
                      <a:gd name="connsiteX4" fmla="*/ 0 w 2283087"/>
                      <a:gd name="connsiteY4" fmla="*/ 4193985 h 4193985"/>
                      <a:gd name="connsiteX5" fmla="*/ 0 w 2283087"/>
                      <a:gd name="connsiteY5" fmla="*/ 5269 h 4193985"/>
                      <a:gd name="connsiteX0" fmla="*/ 2283087 w 2374527"/>
                      <a:gd name="connsiteY0" fmla="*/ 5269 h 4193985"/>
                      <a:gd name="connsiteX1" fmla="*/ 2283087 w 2374527"/>
                      <a:gd name="connsiteY1" fmla="*/ 4193985 h 4193985"/>
                      <a:gd name="connsiteX2" fmla="*/ 0 w 2374527"/>
                      <a:gd name="connsiteY2" fmla="*/ 4193985 h 4193985"/>
                      <a:gd name="connsiteX3" fmla="*/ 0 w 2374527"/>
                      <a:gd name="connsiteY3" fmla="*/ 5269 h 4193985"/>
                      <a:gd name="connsiteX4" fmla="*/ 1141223 w 2374527"/>
                      <a:gd name="connsiteY4" fmla="*/ 0 h 4193985"/>
                      <a:gd name="connsiteX5" fmla="*/ 2374527 w 2374527"/>
                      <a:gd name="connsiteY5" fmla="*/ 96709 h 4193985"/>
                      <a:gd name="connsiteX0" fmla="*/ 2283087 w 2283087"/>
                      <a:gd name="connsiteY0" fmla="*/ 5269 h 4193985"/>
                      <a:gd name="connsiteX1" fmla="*/ 2283087 w 2283087"/>
                      <a:gd name="connsiteY1" fmla="*/ 4193985 h 4193985"/>
                      <a:gd name="connsiteX2" fmla="*/ 0 w 2283087"/>
                      <a:gd name="connsiteY2" fmla="*/ 4193985 h 4193985"/>
                      <a:gd name="connsiteX3" fmla="*/ 0 w 2283087"/>
                      <a:gd name="connsiteY3" fmla="*/ 5269 h 4193985"/>
                      <a:gd name="connsiteX4" fmla="*/ 1141223 w 2283087"/>
                      <a:gd name="connsiteY4" fmla="*/ 0 h 4193985"/>
                      <a:gd name="connsiteX0" fmla="*/ 2283087 w 2283087"/>
                      <a:gd name="connsiteY0" fmla="*/ 4193985 h 4193985"/>
                      <a:gd name="connsiteX1" fmla="*/ 0 w 2283087"/>
                      <a:gd name="connsiteY1" fmla="*/ 4193985 h 4193985"/>
                      <a:gd name="connsiteX2" fmla="*/ 0 w 2283087"/>
                      <a:gd name="connsiteY2" fmla="*/ 5269 h 4193985"/>
                      <a:gd name="connsiteX3" fmla="*/ 1141223 w 2283087"/>
                      <a:gd name="connsiteY3" fmla="*/ 0 h 4193985"/>
                      <a:gd name="connsiteX0" fmla="*/ 2283087 w 2283087"/>
                      <a:gd name="connsiteY0" fmla="*/ 4188716 h 4188716"/>
                      <a:gd name="connsiteX1" fmla="*/ 0 w 2283087"/>
                      <a:gd name="connsiteY1" fmla="*/ 4188716 h 4188716"/>
                      <a:gd name="connsiteX2" fmla="*/ 0 w 2283087"/>
                      <a:gd name="connsiteY2" fmla="*/ 0 h 4188716"/>
                      <a:gd name="connsiteX3" fmla="*/ 1152307 w 2283087"/>
                      <a:gd name="connsiteY3" fmla="*/ 272 h 4188716"/>
                    </a:gdLst>
                    <a:ahLst/>
                    <a:cxnLst>
                      <a:cxn ang="0">
                        <a:pos x="connsiteX0" y="connsiteY0"/>
                      </a:cxn>
                      <a:cxn ang="0">
                        <a:pos x="connsiteX1" y="connsiteY1"/>
                      </a:cxn>
                      <a:cxn ang="0">
                        <a:pos x="connsiteX2" y="connsiteY2"/>
                      </a:cxn>
                      <a:cxn ang="0">
                        <a:pos x="connsiteX3" y="connsiteY3"/>
                      </a:cxn>
                    </a:cxnLst>
                    <a:rect l="l" t="t" r="r" b="b"/>
                    <a:pathLst>
                      <a:path w="2283087" h="4188716">
                        <a:moveTo>
                          <a:pt x="2283087" y="4188716"/>
                        </a:moveTo>
                        <a:lnTo>
                          <a:pt x="0" y="4188716"/>
                        </a:lnTo>
                        <a:lnTo>
                          <a:pt x="0" y="0"/>
                        </a:lnTo>
                        <a:lnTo>
                          <a:pt x="1152307" y="272"/>
                        </a:lnTo>
                      </a:path>
                    </a:pathLst>
                  </a:custGeom>
                  <a:noFill/>
                  <a:ln w="6350" cap="sq">
                    <a:solidFill>
                      <a:schemeClr val="tx2">
                        <a:lumMod val="65000"/>
                        <a:lumOff val="35000"/>
                      </a:schemeClr>
                    </a:solidFill>
                    <a:prstDash val="dash"/>
                    <a:head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3" name="Group 12">
                  <a:extLst>
                    <a:ext uri="{FF2B5EF4-FFF2-40B4-BE49-F238E27FC236}">
                      <a16:creationId xmlns:a16="http://schemas.microsoft.com/office/drawing/2014/main" id="{A7278570-8B69-40E2-8F5A-1895D08CF401}"/>
                    </a:ext>
                  </a:extLst>
                </p:cNvPr>
                <p:cNvGrpSpPr/>
                <p:nvPr/>
              </p:nvGrpSpPr>
              <p:grpSpPr>
                <a:xfrm>
                  <a:off x="1560210" y="1481664"/>
                  <a:ext cx="778085" cy="770381"/>
                  <a:chOff x="1428431" y="3927506"/>
                  <a:chExt cx="778085" cy="770381"/>
                </a:xfrm>
              </p:grpSpPr>
              <p:sp>
                <p:nvSpPr>
                  <p:cNvPr id="14" name="Oval 13">
                    <a:extLst>
                      <a:ext uri="{FF2B5EF4-FFF2-40B4-BE49-F238E27FC236}">
                        <a16:creationId xmlns:a16="http://schemas.microsoft.com/office/drawing/2014/main" id="{826844E5-57ED-40FD-9148-F1843DBF321B}"/>
                      </a:ext>
                    </a:extLst>
                  </p:cNvPr>
                  <p:cNvSpPr/>
                  <p:nvPr/>
                </p:nvSpPr>
                <p:spPr>
                  <a:xfrm>
                    <a:off x="1428431" y="3927506"/>
                    <a:ext cx="778085" cy="770381"/>
                  </a:xfrm>
                  <a:prstGeom prst="ellipse">
                    <a:avLst/>
                  </a:prstGeom>
                  <a:solidFill>
                    <a:srgbClr val="00B0F0">
                      <a:alpha val="50000"/>
                    </a:srgbClr>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5" name="Oval 14">
                    <a:extLst>
                      <a:ext uri="{FF2B5EF4-FFF2-40B4-BE49-F238E27FC236}">
                        <a16:creationId xmlns:a16="http://schemas.microsoft.com/office/drawing/2014/main" id="{08CE5E9C-0DAC-4D1F-A5AC-4346E897EF91}"/>
                      </a:ext>
                    </a:extLst>
                  </p:cNvPr>
                  <p:cNvSpPr/>
                  <p:nvPr/>
                </p:nvSpPr>
                <p:spPr>
                  <a:xfrm>
                    <a:off x="1537428" y="4035425"/>
                    <a:ext cx="560091" cy="554543"/>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endParaRPr>
                  </a:p>
                </p:txBody>
              </p:sp>
            </p:grpSp>
          </p:grpSp>
          <p:sp>
            <p:nvSpPr>
              <p:cNvPr id="11" name="Rectangle 10">
                <a:extLst>
                  <a:ext uri="{FF2B5EF4-FFF2-40B4-BE49-F238E27FC236}">
                    <a16:creationId xmlns:a16="http://schemas.microsoft.com/office/drawing/2014/main" id="{313EF59C-2606-4EC8-94CA-98A761D6A856}"/>
                  </a:ext>
                </a:extLst>
              </p:cNvPr>
              <p:cNvSpPr/>
              <p:nvPr/>
            </p:nvSpPr>
            <p:spPr>
              <a:xfrm>
                <a:off x="722867" y="2874810"/>
                <a:ext cx="2124002" cy="27524"/>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46" name="Rectangle 45">
              <a:extLst>
                <a:ext uri="{FF2B5EF4-FFF2-40B4-BE49-F238E27FC236}">
                  <a16:creationId xmlns:a16="http://schemas.microsoft.com/office/drawing/2014/main" id="{2A4A2617-09E0-63B7-31F9-8C1063A16927}"/>
                </a:ext>
              </a:extLst>
            </p:cNvPr>
            <p:cNvSpPr/>
            <p:nvPr/>
          </p:nvSpPr>
          <p:spPr>
            <a:xfrm>
              <a:off x="636041" y="3071942"/>
              <a:ext cx="2260392" cy="2262158"/>
            </a:xfrm>
            <a:prstGeom prst="rect">
              <a:avLst/>
            </a:prstGeom>
          </p:spPr>
          <p:txBody>
            <a:bodyPr wrap="square"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livery of initial BRD focused on taxonomy schem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0" dirty="0">
                <a:solidFill>
                  <a:srgbClr val="FFFFFF"/>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andardization and Consistency </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tensibility</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ntology and Semantic Relationships</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teroperability Standards</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trolled Vocabulary Management</a:t>
              </a:r>
            </a:p>
          </p:txBody>
        </p:sp>
      </p:grpSp>
      <p:grpSp>
        <p:nvGrpSpPr>
          <p:cNvPr id="19" name="Group 18">
            <a:extLst>
              <a:ext uri="{FF2B5EF4-FFF2-40B4-BE49-F238E27FC236}">
                <a16:creationId xmlns:a16="http://schemas.microsoft.com/office/drawing/2014/main" id="{5D811144-A12F-4FF3-B8F8-41F67A856003}"/>
              </a:ext>
            </a:extLst>
          </p:cNvPr>
          <p:cNvGrpSpPr/>
          <p:nvPr/>
        </p:nvGrpSpPr>
        <p:grpSpPr>
          <a:xfrm>
            <a:off x="3502656" y="1794014"/>
            <a:ext cx="2416221" cy="4027067"/>
            <a:chOff x="576758" y="1481664"/>
            <a:chExt cx="2416221" cy="4027067"/>
          </a:xfrm>
        </p:grpSpPr>
        <p:sp>
          <p:nvSpPr>
            <p:cNvPr id="21" name="TextBox 20">
              <a:extLst>
                <a:ext uri="{FF2B5EF4-FFF2-40B4-BE49-F238E27FC236}">
                  <a16:creationId xmlns:a16="http://schemas.microsoft.com/office/drawing/2014/main" id="{0CDE80C4-3861-4D1B-8E38-0ABCDA0623FD}"/>
                </a:ext>
              </a:extLst>
            </p:cNvPr>
            <p:cNvSpPr txBox="1"/>
            <p:nvPr/>
          </p:nvSpPr>
          <p:spPr>
            <a:xfrm>
              <a:off x="636041" y="2594755"/>
              <a:ext cx="1809308" cy="27699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lumMod val="85000"/>
                      <a:lumOff val="15000"/>
                    </a:srgbClr>
                  </a:solidFill>
                  <a:effectLst/>
                  <a:uLnTx/>
                  <a:uFillTx/>
                  <a:ea typeface="+mn-ea"/>
                  <a:cs typeface="Arial" panose="020B0604020202020204" pitchFamily="34" charset="0"/>
                </a:rPr>
                <a:t>Supplier Catalogue </a:t>
              </a:r>
            </a:p>
          </p:txBody>
        </p:sp>
        <p:grpSp>
          <p:nvGrpSpPr>
            <p:cNvPr id="22" name="Group 21">
              <a:extLst>
                <a:ext uri="{FF2B5EF4-FFF2-40B4-BE49-F238E27FC236}">
                  <a16:creationId xmlns:a16="http://schemas.microsoft.com/office/drawing/2014/main" id="{AFDC0A8A-F9E1-456F-A1E3-08B8EC12F28E}"/>
                </a:ext>
              </a:extLst>
            </p:cNvPr>
            <p:cNvGrpSpPr/>
            <p:nvPr/>
          </p:nvGrpSpPr>
          <p:grpSpPr>
            <a:xfrm>
              <a:off x="576758" y="1481664"/>
              <a:ext cx="2416221" cy="4027067"/>
              <a:chOff x="576758" y="1481664"/>
              <a:chExt cx="2416221" cy="4027067"/>
            </a:xfrm>
          </p:grpSpPr>
          <p:grpSp>
            <p:nvGrpSpPr>
              <p:cNvPr id="24" name="Group 23">
                <a:extLst>
                  <a:ext uri="{FF2B5EF4-FFF2-40B4-BE49-F238E27FC236}">
                    <a16:creationId xmlns:a16="http://schemas.microsoft.com/office/drawing/2014/main" id="{08532242-A1B1-47E2-9064-9F6F3BF44A57}"/>
                  </a:ext>
                </a:extLst>
              </p:cNvPr>
              <p:cNvGrpSpPr/>
              <p:nvPr/>
            </p:nvGrpSpPr>
            <p:grpSpPr>
              <a:xfrm>
                <a:off x="576758" y="1481664"/>
                <a:ext cx="2416221" cy="4027067"/>
                <a:chOff x="741142" y="1481664"/>
                <a:chExt cx="2416221" cy="4027067"/>
              </a:xfrm>
            </p:grpSpPr>
            <p:grpSp>
              <p:nvGrpSpPr>
                <p:cNvPr id="26" name="Group 25">
                  <a:extLst>
                    <a:ext uri="{FF2B5EF4-FFF2-40B4-BE49-F238E27FC236}">
                      <a16:creationId xmlns:a16="http://schemas.microsoft.com/office/drawing/2014/main" id="{FF096330-6D1A-4566-B35A-95949DD3C1F3}"/>
                    </a:ext>
                  </a:extLst>
                </p:cNvPr>
                <p:cNvGrpSpPr/>
                <p:nvPr/>
              </p:nvGrpSpPr>
              <p:grpSpPr>
                <a:xfrm>
                  <a:off x="741142" y="1865780"/>
                  <a:ext cx="2416221" cy="3642951"/>
                  <a:chOff x="999916" y="1724312"/>
                  <a:chExt cx="2447778" cy="3905733"/>
                </a:xfrm>
              </p:grpSpPr>
              <p:sp>
                <p:nvSpPr>
                  <p:cNvPr id="30" name="Rectangle 29">
                    <a:extLst>
                      <a:ext uri="{FF2B5EF4-FFF2-40B4-BE49-F238E27FC236}">
                        <a16:creationId xmlns:a16="http://schemas.microsoft.com/office/drawing/2014/main" id="{1B112401-FC41-405D-8D40-D4A766FB3C9C}"/>
                      </a:ext>
                    </a:extLst>
                  </p:cNvPr>
                  <p:cNvSpPr/>
                  <p:nvPr/>
                </p:nvSpPr>
                <p:spPr>
                  <a:xfrm>
                    <a:off x="1010990" y="2948592"/>
                    <a:ext cx="2378640" cy="2578346"/>
                  </a:xfrm>
                  <a:prstGeom prst="rect">
                    <a:avLst/>
                  </a:prstGeom>
                  <a:solidFill>
                    <a:schemeClr val="bg2">
                      <a:alpha val="10000"/>
                    </a:scheme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 name="Rectangle 6">
                    <a:extLst>
                      <a:ext uri="{FF2B5EF4-FFF2-40B4-BE49-F238E27FC236}">
                        <a16:creationId xmlns:a16="http://schemas.microsoft.com/office/drawing/2014/main" id="{C4647DC7-25CC-4850-B6DA-C7D6980B447D}"/>
                      </a:ext>
                    </a:extLst>
                  </p:cNvPr>
                  <p:cNvSpPr/>
                  <p:nvPr/>
                </p:nvSpPr>
                <p:spPr>
                  <a:xfrm>
                    <a:off x="999916" y="1724312"/>
                    <a:ext cx="2447778" cy="3905733"/>
                  </a:xfrm>
                  <a:custGeom>
                    <a:avLst/>
                    <a:gdLst>
                      <a:gd name="connsiteX0" fmla="*/ 0 w 2283087"/>
                      <a:gd name="connsiteY0" fmla="*/ 0 h 4188716"/>
                      <a:gd name="connsiteX1" fmla="*/ 2283087 w 2283087"/>
                      <a:gd name="connsiteY1" fmla="*/ 0 h 4188716"/>
                      <a:gd name="connsiteX2" fmla="*/ 2283087 w 2283087"/>
                      <a:gd name="connsiteY2" fmla="*/ 4188716 h 4188716"/>
                      <a:gd name="connsiteX3" fmla="*/ 0 w 2283087"/>
                      <a:gd name="connsiteY3" fmla="*/ 4188716 h 4188716"/>
                      <a:gd name="connsiteX4" fmla="*/ 0 w 2283087"/>
                      <a:gd name="connsiteY4" fmla="*/ 0 h 4188716"/>
                      <a:gd name="connsiteX0" fmla="*/ 0 w 2283087"/>
                      <a:gd name="connsiteY0" fmla="*/ 5269 h 4193985"/>
                      <a:gd name="connsiteX1" fmla="*/ 1141223 w 2283087"/>
                      <a:gd name="connsiteY1" fmla="*/ 0 h 4193985"/>
                      <a:gd name="connsiteX2" fmla="*/ 2283087 w 2283087"/>
                      <a:gd name="connsiteY2" fmla="*/ 5269 h 4193985"/>
                      <a:gd name="connsiteX3" fmla="*/ 2283087 w 2283087"/>
                      <a:gd name="connsiteY3" fmla="*/ 4193985 h 4193985"/>
                      <a:gd name="connsiteX4" fmla="*/ 0 w 2283087"/>
                      <a:gd name="connsiteY4" fmla="*/ 4193985 h 4193985"/>
                      <a:gd name="connsiteX5" fmla="*/ 0 w 2283087"/>
                      <a:gd name="connsiteY5" fmla="*/ 5269 h 4193985"/>
                      <a:gd name="connsiteX0" fmla="*/ 2283087 w 2374527"/>
                      <a:gd name="connsiteY0" fmla="*/ 5269 h 4193985"/>
                      <a:gd name="connsiteX1" fmla="*/ 2283087 w 2374527"/>
                      <a:gd name="connsiteY1" fmla="*/ 4193985 h 4193985"/>
                      <a:gd name="connsiteX2" fmla="*/ 0 w 2374527"/>
                      <a:gd name="connsiteY2" fmla="*/ 4193985 h 4193985"/>
                      <a:gd name="connsiteX3" fmla="*/ 0 w 2374527"/>
                      <a:gd name="connsiteY3" fmla="*/ 5269 h 4193985"/>
                      <a:gd name="connsiteX4" fmla="*/ 1141223 w 2374527"/>
                      <a:gd name="connsiteY4" fmla="*/ 0 h 4193985"/>
                      <a:gd name="connsiteX5" fmla="*/ 2374527 w 2374527"/>
                      <a:gd name="connsiteY5" fmla="*/ 96709 h 4193985"/>
                      <a:gd name="connsiteX0" fmla="*/ 2283087 w 2283087"/>
                      <a:gd name="connsiteY0" fmla="*/ 5269 h 4193985"/>
                      <a:gd name="connsiteX1" fmla="*/ 2283087 w 2283087"/>
                      <a:gd name="connsiteY1" fmla="*/ 4193985 h 4193985"/>
                      <a:gd name="connsiteX2" fmla="*/ 0 w 2283087"/>
                      <a:gd name="connsiteY2" fmla="*/ 4193985 h 4193985"/>
                      <a:gd name="connsiteX3" fmla="*/ 0 w 2283087"/>
                      <a:gd name="connsiteY3" fmla="*/ 5269 h 4193985"/>
                      <a:gd name="connsiteX4" fmla="*/ 1141223 w 2283087"/>
                      <a:gd name="connsiteY4" fmla="*/ 0 h 4193985"/>
                      <a:gd name="connsiteX0" fmla="*/ 2283087 w 2283087"/>
                      <a:gd name="connsiteY0" fmla="*/ 4193985 h 4193985"/>
                      <a:gd name="connsiteX1" fmla="*/ 0 w 2283087"/>
                      <a:gd name="connsiteY1" fmla="*/ 4193985 h 4193985"/>
                      <a:gd name="connsiteX2" fmla="*/ 0 w 2283087"/>
                      <a:gd name="connsiteY2" fmla="*/ 5269 h 4193985"/>
                      <a:gd name="connsiteX3" fmla="*/ 1141223 w 2283087"/>
                      <a:gd name="connsiteY3" fmla="*/ 0 h 4193985"/>
                      <a:gd name="connsiteX0" fmla="*/ 2283087 w 2283087"/>
                      <a:gd name="connsiteY0" fmla="*/ 4188716 h 4188716"/>
                      <a:gd name="connsiteX1" fmla="*/ 0 w 2283087"/>
                      <a:gd name="connsiteY1" fmla="*/ 4188716 h 4188716"/>
                      <a:gd name="connsiteX2" fmla="*/ 0 w 2283087"/>
                      <a:gd name="connsiteY2" fmla="*/ 0 h 4188716"/>
                      <a:gd name="connsiteX3" fmla="*/ 1152307 w 2283087"/>
                      <a:gd name="connsiteY3" fmla="*/ 272 h 4188716"/>
                    </a:gdLst>
                    <a:ahLst/>
                    <a:cxnLst>
                      <a:cxn ang="0">
                        <a:pos x="connsiteX0" y="connsiteY0"/>
                      </a:cxn>
                      <a:cxn ang="0">
                        <a:pos x="connsiteX1" y="connsiteY1"/>
                      </a:cxn>
                      <a:cxn ang="0">
                        <a:pos x="connsiteX2" y="connsiteY2"/>
                      </a:cxn>
                      <a:cxn ang="0">
                        <a:pos x="connsiteX3" y="connsiteY3"/>
                      </a:cxn>
                    </a:cxnLst>
                    <a:rect l="l" t="t" r="r" b="b"/>
                    <a:pathLst>
                      <a:path w="2283087" h="4188716">
                        <a:moveTo>
                          <a:pt x="2283087" y="4188716"/>
                        </a:moveTo>
                        <a:lnTo>
                          <a:pt x="0" y="4188716"/>
                        </a:lnTo>
                        <a:lnTo>
                          <a:pt x="0" y="0"/>
                        </a:lnTo>
                        <a:lnTo>
                          <a:pt x="1152307" y="272"/>
                        </a:lnTo>
                      </a:path>
                    </a:pathLst>
                  </a:custGeom>
                  <a:noFill/>
                  <a:ln w="6350" cap="sq">
                    <a:solidFill>
                      <a:schemeClr val="tx2">
                        <a:lumMod val="65000"/>
                        <a:lumOff val="35000"/>
                      </a:schemeClr>
                    </a:solidFill>
                    <a:prstDash val="dash"/>
                    <a:head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27" name="Group 26">
                  <a:extLst>
                    <a:ext uri="{FF2B5EF4-FFF2-40B4-BE49-F238E27FC236}">
                      <a16:creationId xmlns:a16="http://schemas.microsoft.com/office/drawing/2014/main" id="{B683F0A8-1786-42C0-BC34-EA9E600A9519}"/>
                    </a:ext>
                  </a:extLst>
                </p:cNvPr>
                <p:cNvGrpSpPr/>
                <p:nvPr/>
              </p:nvGrpSpPr>
              <p:grpSpPr>
                <a:xfrm>
                  <a:off x="1560210" y="1481664"/>
                  <a:ext cx="778085" cy="770381"/>
                  <a:chOff x="1428431" y="3927506"/>
                  <a:chExt cx="778085" cy="770381"/>
                </a:xfrm>
              </p:grpSpPr>
              <p:sp>
                <p:nvSpPr>
                  <p:cNvPr id="28" name="Oval 27">
                    <a:extLst>
                      <a:ext uri="{FF2B5EF4-FFF2-40B4-BE49-F238E27FC236}">
                        <a16:creationId xmlns:a16="http://schemas.microsoft.com/office/drawing/2014/main" id="{5821D0EE-0802-43D9-BFAA-83396319B357}"/>
                      </a:ext>
                    </a:extLst>
                  </p:cNvPr>
                  <p:cNvSpPr/>
                  <p:nvPr/>
                </p:nvSpPr>
                <p:spPr>
                  <a:xfrm>
                    <a:off x="1428431" y="3927506"/>
                    <a:ext cx="778085" cy="770381"/>
                  </a:xfrm>
                  <a:prstGeom prst="ellipse">
                    <a:avLst/>
                  </a:prstGeom>
                  <a:solidFill>
                    <a:schemeClr val="accent1">
                      <a:alpha val="50000"/>
                    </a:schemeClr>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12B933FF-9EDC-4633-B4A0-2B9C7D407ADF}"/>
                      </a:ext>
                    </a:extLst>
                  </p:cNvPr>
                  <p:cNvSpPr/>
                  <p:nvPr/>
                </p:nvSpPr>
                <p:spPr>
                  <a:xfrm>
                    <a:off x="1537428" y="4035425"/>
                    <a:ext cx="560091" cy="554543"/>
                  </a:xfrm>
                  <a:prstGeom prst="ellipse">
                    <a:avLst/>
                  </a:prstGeom>
                  <a:solidFill>
                    <a:schemeClr val="accent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endParaRPr>
                  </a:p>
                </p:txBody>
              </p:sp>
            </p:grpSp>
          </p:grpSp>
          <p:sp>
            <p:nvSpPr>
              <p:cNvPr id="25" name="Rectangle 24">
                <a:extLst>
                  <a:ext uri="{FF2B5EF4-FFF2-40B4-BE49-F238E27FC236}">
                    <a16:creationId xmlns:a16="http://schemas.microsoft.com/office/drawing/2014/main" id="{4FDBFBFD-6CF1-48C0-AF79-90F27448ABDF}"/>
                  </a:ext>
                </a:extLst>
              </p:cNvPr>
              <p:cNvSpPr/>
              <p:nvPr/>
            </p:nvSpPr>
            <p:spPr>
              <a:xfrm>
                <a:off x="722867" y="2874810"/>
                <a:ext cx="2124002" cy="27524"/>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3" name="Rectangle 22">
              <a:extLst>
                <a:ext uri="{FF2B5EF4-FFF2-40B4-BE49-F238E27FC236}">
                  <a16:creationId xmlns:a16="http://schemas.microsoft.com/office/drawing/2014/main" id="{44F09A7A-BDA2-4848-BF38-6F6853ED3288}"/>
                </a:ext>
              </a:extLst>
            </p:cNvPr>
            <p:cNvSpPr/>
            <p:nvPr/>
          </p:nvSpPr>
          <p:spPr>
            <a:xfrm>
              <a:off x="576758" y="3071927"/>
              <a:ext cx="2327295" cy="235449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itial BRD delivered March 2024 for Data Exchange. Supplier Catalog BRD refinement needs identifi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0">
                <a:solidFill>
                  <a:srgbClr val="FFFFFF"/>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en-US" sz="1100" b="1" kern="0">
                  <a:solidFill>
                    <a:srgbClr val="FFFFFF"/>
                  </a:solidFill>
                  <a:latin typeface="Arial" panose="020B0604020202020204" pitchFamily="34" charset="0"/>
                  <a:cs typeface="Arial" panose="020B0604020202020204" pitchFamily="34" charset="0"/>
                </a:rPr>
                <a:t>Taxonomy Concept Integration </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en-US" sz="1100" b="1" kern="0">
                  <a:solidFill>
                    <a:srgbClr val="FFFFFF"/>
                  </a:solidFill>
                  <a:latin typeface="Arial" panose="020B0604020202020204" pitchFamily="34" charset="0"/>
                  <a:cs typeface="Arial" panose="020B0604020202020204" pitchFamily="34" charset="0"/>
                </a:rPr>
                <a:t>Product Description Use Cases</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en-US" sz="1100" b="1" kern="0">
                  <a:solidFill>
                    <a:srgbClr val="FFFFFF"/>
                  </a:solidFill>
                  <a:latin typeface="Arial" panose="020B0604020202020204" pitchFamily="34" charset="0"/>
                  <a:cs typeface="Arial" panose="020B0604020202020204" pitchFamily="34" charset="0"/>
                </a:rPr>
                <a:t>Data Exchange Refactor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0">
                <a:solidFill>
                  <a:srgbClr val="FFFFFF"/>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33" name="Group 32">
            <a:extLst>
              <a:ext uri="{FF2B5EF4-FFF2-40B4-BE49-F238E27FC236}">
                <a16:creationId xmlns:a16="http://schemas.microsoft.com/office/drawing/2014/main" id="{AA11F8C8-E9AF-4661-B30B-B22ECCFAFB8B}"/>
              </a:ext>
            </a:extLst>
          </p:cNvPr>
          <p:cNvGrpSpPr/>
          <p:nvPr/>
        </p:nvGrpSpPr>
        <p:grpSpPr>
          <a:xfrm>
            <a:off x="6374542" y="1794014"/>
            <a:ext cx="2416221" cy="4027067"/>
            <a:chOff x="576758" y="1481664"/>
            <a:chExt cx="2416221" cy="4027067"/>
          </a:xfrm>
        </p:grpSpPr>
        <p:sp>
          <p:nvSpPr>
            <p:cNvPr id="35" name="TextBox 34">
              <a:extLst>
                <a:ext uri="{FF2B5EF4-FFF2-40B4-BE49-F238E27FC236}">
                  <a16:creationId xmlns:a16="http://schemas.microsoft.com/office/drawing/2014/main" id="{C1146CC4-5572-4F7F-8F57-57B0E3D6E08A}"/>
                </a:ext>
              </a:extLst>
            </p:cNvPr>
            <p:cNvSpPr txBox="1"/>
            <p:nvPr/>
          </p:nvSpPr>
          <p:spPr>
            <a:xfrm>
              <a:off x="636041" y="2594755"/>
              <a:ext cx="1809308" cy="27699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lumMod val="85000"/>
                      <a:lumOff val="15000"/>
                    </a:srgbClr>
                  </a:solidFill>
                  <a:effectLst/>
                  <a:uLnTx/>
                  <a:uFillTx/>
                  <a:ea typeface="+mn-ea"/>
                  <a:cs typeface="Arial" panose="020B0604020202020204" pitchFamily="34" charset="0"/>
                </a:rPr>
                <a:t>Airline Profile</a:t>
              </a:r>
            </a:p>
          </p:txBody>
        </p:sp>
        <p:grpSp>
          <p:nvGrpSpPr>
            <p:cNvPr id="36" name="Group 35">
              <a:extLst>
                <a:ext uri="{FF2B5EF4-FFF2-40B4-BE49-F238E27FC236}">
                  <a16:creationId xmlns:a16="http://schemas.microsoft.com/office/drawing/2014/main" id="{8D6A19C9-07F6-4128-B7D0-653F75148FAA}"/>
                </a:ext>
              </a:extLst>
            </p:cNvPr>
            <p:cNvGrpSpPr/>
            <p:nvPr/>
          </p:nvGrpSpPr>
          <p:grpSpPr>
            <a:xfrm>
              <a:off x="576758" y="1481664"/>
              <a:ext cx="2416221" cy="4027067"/>
              <a:chOff x="576758" y="1481664"/>
              <a:chExt cx="2416221" cy="4027067"/>
            </a:xfrm>
          </p:grpSpPr>
          <p:grpSp>
            <p:nvGrpSpPr>
              <p:cNvPr id="38" name="Group 37">
                <a:extLst>
                  <a:ext uri="{FF2B5EF4-FFF2-40B4-BE49-F238E27FC236}">
                    <a16:creationId xmlns:a16="http://schemas.microsoft.com/office/drawing/2014/main" id="{54176416-7231-4C55-BC6C-96EE3257BDC2}"/>
                  </a:ext>
                </a:extLst>
              </p:cNvPr>
              <p:cNvGrpSpPr/>
              <p:nvPr/>
            </p:nvGrpSpPr>
            <p:grpSpPr>
              <a:xfrm>
                <a:off x="576758" y="1481664"/>
                <a:ext cx="2416221" cy="4027067"/>
                <a:chOff x="741142" y="1481664"/>
                <a:chExt cx="2416221" cy="4027067"/>
              </a:xfrm>
            </p:grpSpPr>
            <p:grpSp>
              <p:nvGrpSpPr>
                <p:cNvPr id="40" name="Group 39">
                  <a:extLst>
                    <a:ext uri="{FF2B5EF4-FFF2-40B4-BE49-F238E27FC236}">
                      <a16:creationId xmlns:a16="http://schemas.microsoft.com/office/drawing/2014/main" id="{302E9A8F-ADE4-413E-B566-529AE873DC4C}"/>
                    </a:ext>
                  </a:extLst>
                </p:cNvPr>
                <p:cNvGrpSpPr/>
                <p:nvPr/>
              </p:nvGrpSpPr>
              <p:grpSpPr>
                <a:xfrm>
                  <a:off x="741142" y="1865780"/>
                  <a:ext cx="2416221" cy="3642951"/>
                  <a:chOff x="999916" y="1724312"/>
                  <a:chExt cx="2447778" cy="3905733"/>
                </a:xfrm>
              </p:grpSpPr>
              <p:sp>
                <p:nvSpPr>
                  <p:cNvPr id="44" name="Rectangle 43">
                    <a:extLst>
                      <a:ext uri="{FF2B5EF4-FFF2-40B4-BE49-F238E27FC236}">
                        <a16:creationId xmlns:a16="http://schemas.microsoft.com/office/drawing/2014/main" id="{35DDE0AA-CF51-42C2-B36C-1C07AC7204F6}"/>
                      </a:ext>
                    </a:extLst>
                  </p:cNvPr>
                  <p:cNvSpPr/>
                  <p:nvPr/>
                </p:nvSpPr>
                <p:spPr>
                  <a:xfrm>
                    <a:off x="1010990" y="2948592"/>
                    <a:ext cx="2378640" cy="2578346"/>
                  </a:xfrm>
                  <a:prstGeom prst="rect">
                    <a:avLst/>
                  </a:prstGeom>
                  <a:solidFill>
                    <a:schemeClr val="bg2">
                      <a:alpha val="10000"/>
                    </a:scheme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 name="Rectangle 6">
                    <a:extLst>
                      <a:ext uri="{FF2B5EF4-FFF2-40B4-BE49-F238E27FC236}">
                        <a16:creationId xmlns:a16="http://schemas.microsoft.com/office/drawing/2014/main" id="{A659FB6C-0D19-4ECC-866E-818113941B79}"/>
                      </a:ext>
                    </a:extLst>
                  </p:cNvPr>
                  <p:cNvSpPr/>
                  <p:nvPr/>
                </p:nvSpPr>
                <p:spPr>
                  <a:xfrm>
                    <a:off x="999916" y="1724312"/>
                    <a:ext cx="2447778" cy="3905733"/>
                  </a:xfrm>
                  <a:custGeom>
                    <a:avLst/>
                    <a:gdLst>
                      <a:gd name="connsiteX0" fmla="*/ 0 w 2283087"/>
                      <a:gd name="connsiteY0" fmla="*/ 0 h 4188716"/>
                      <a:gd name="connsiteX1" fmla="*/ 2283087 w 2283087"/>
                      <a:gd name="connsiteY1" fmla="*/ 0 h 4188716"/>
                      <a:gd name="connsiteX2" fmla="*/ 2283087 w 2283087"/>
                      <a:gd name="connsiteY2" fmla="*/ 4188716 h 4188716"/>
                      <a:gd name="connsiteX3" fmla="*/ 0 w 2283087"/>
                      <a:gd name="connsiteY3" fmla="*/ 4188716 h 4188716"/>
                      <a:gd name="connsiteX4" fmla="*/ 0 w 2283087"/>
                      <a:gd name="connsiteY4" fmla="*/ 0 h 4188716"/>
                      <a:gd name="connsiteX0" fmla="*/ 0 w 2283087"/>
                      <a:gd name="connsiteY0" fmla="*/ 5269 h 4193985"/>
                      <a:gd name="connsiteX1" fmla="*/ 1141223 w 2283087"/>
                      <a:gd name="connsiteY1" fmla="*/ 0 h 4193985"/>
                      <a:gd name="connsiteX2" fmla="*/ 2283087 w 2283087"/>
                      <a:gd name="connsiteY2" fmla="*/ 5269 h 4193985"/>
                      <a:gd name="connsiteX3" fmla="*/ 2283087 w 2283087"/>
                      <a:gd name="connsiteY3" fmla="*/ 4193985 h 4193985"/>
                      <a:gd name="connsiteX4" fmla="*/ 0 w 2283087"/>
                      <a:gd name="connsiteY4" fmla="*/ 4193985 h 4193985"/>
                      <a:gd name="connsiteX5" fmla="*/ 0 w 2283087"/>
                      <a:gd name="connsiteY5" fmla="*/ 5269 h 4193985"/>
                      <a:gd name="connsiteX0" fmla="*/ 2283087 w 2374527"/>
                      <a:gd name="connsiteY0" fmla="*/ 5269 h 4193985"/>
                      <a:gd name="connsiteX1" fmla="*/ 2283087 w 2374527"/>
                      <a:gd name="connsiteY1" fmla="*/ 4193985 h 4193985"/>
                      <a:gd name="connsiteX2" fmla="*/ 0 w 2374527"/>
                      <a:gd name="connsiteY2" fmla="*/ 4193985 h 4193985"/>
                      <a:gd name="connsiteX3" fmla="*/ 0 w 2374527"/>
                      <a:gd name="connsiteY3" fmla="*/ 5269 h 4193985"/>
                      <a:gd name="connsiteX4" fmla="*/ 1141223 w 2374527"/>
                      <a:gd name="connsiteY4" fmla="*/ 0 h 4193985"/>
                      <a:gd name="connsiteX5" fmla="*/ 2374527 w 2374527"/>
                      <a:gd name="connsiteY5" fmla="*/ 96709 h 4193985"/>
                      <a:gd name="connsiteX0" fmla="*/ 2283087 w 2283087"/>
                      <a:gd name="connsiteY0" fmla="*/ 5269 h 4193985"/>
                      <a:gd name="connsiteX1" fmla="*/ 2283087 w 2283087"/>
                      <a:gd name="connsiteY1" fmla="*/ 4193985 h 4193985"/>
                      <a:gd name="connsiteX2" fmla="*/ 0 w 2283087"/>
                      <a:gd name="connsiteY2" fmla="*/ 4193985 h 4193985"/>
                      <a:gd name="connsiteX3" fmla="*/ 0 w 2283087"/>
                      <a:gd name="connsiteY3" fmla="*/ 5269 h 4193985"/>
                      <a:gd name="connsiteX4" fmla="*/ 1141223 w 2283087"/>
                      <a:gd name="connsiteY4" fmla="*/ 0 h 4193985"/>
                      <a:gd name="connsiteX0" fmla="*/ 2283087 w 2283087"/>
                      <a:gd name="connsiteY0" fmla="*/ 4193985 h 4193985"/>
                      <a:gd name="connsiteX1" fmla="*/ 0 w 2283087"/>
                      <a:gd name="connsiteY1" fmla="*/ 4193985 h 4193985"/>
                      <a:gd name="connsiteX2" fmla="*/ 0 w 2283087"/>
                      <a:gd name="connsiteY2" fmla="*/ 5269 h 4193985"/>
                      <a:gd name="connsiteX3" fmla="*/ 1141223 w 2283087"/>
                      <a:gd name="connsiteY3" fmla="*/ 0 h 4193985"/>
                      <a:gd name="connsiteX0" fmla="*/ 2283087 w 2283087"/>
                      <a:gd name="connsiteY0" fmla="*/ 4188716 h 4188716"/>
                      <a:gd name="connsiteX1" fmla="*/ 0 w 2283087"/>
                      <a:gd name="connsiteY1" fmla="*/ 4188716 h 4188716"/>
                      <a:gd name="connsiteX2" fmla="*/ 0 w 2283087"/>
                      <a:gd name="connsiteY2" fmla="*/ 0 h 4188716"/>
                      <a:gd name="connsiteX3" fmla="*/ 1152307 w 2283087"/>
                      <a:gd name="connsiteY3" fmla="*/ 272 h 4188716"/>
                    </a:gdLst>
                    <a:ahLst/>
                    <a:cxnLst>
                      <a:cxn ang="0">
                        <a:pos x="connsiteX0" y="connsiteY0"/>
                      </a:cxn>
                      <a:cxn ang="0">
                        <a:pos x="connsiteX1" y="connsiteY1"/>
                      </a:cxn>
                      <a:cxn ang="0">
                        <a:pos x="connsiteX2" y="connsiteY2"/>
                      </a:cxn>
                      <a:cxn ang="0">
                        <a:pos x="connsiteX3" y="connsiteY3"/>
                      </a:cxn>
                    </a:cxnLst>
                    <a:rect l="l" t="t" r="r" b="b"/>
                    <a:pathLst>
                      <a:path w="2283087" h="4188716">
                        <a:moveTo>
                          <a:pt x="2283087" y="4188716"/>
                        </a:moveTo>
                        <a:lnTo>
                          <a:pt x="0" y="4188716"/>
                        </a:lnTo>
                        <a:lnTo>
                          <a:pt x="0" y="0"/>
                        </a:lnTo>
                        <a:lnTo>
                          <a:pt x="1152307" y="272"/>
                        </a:lnTo>
                      </a:path>
                    </a:pathLst>
                  </a:custGeom>
                  <a:noFill/>
                  <a:ln w="6350" cap="sq">
                    <a:solidFill>
                      <a:schemeClr val="tx2">
                        <a:lumMod val="65000"/>
                        <a:lumOff val="35000"/>
                      </a:schemeClr>
                    </a:solidFill>
                    <a:prstDash val="dash"/>
                    <a:head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1" name="Group 40">
                  <a:extLst>
                    <a:ext uri="{FF2B5EF4-FFF2-40B4-BE49-F238E27FC236}">
                      <a16:creationId xmlns:a16="http://schemas.microsoft.com/office/drawing/2014/main" id="{B5EADA37-BF10-4E64-9A64-CE173AA3E4F1}"/>
                    </a:ext>
                  </a:extLst>
                </p:cNvPr>
                <p:cNvGrpSpPr/>
                <p:nvPr/>
              </p:nvGrpSpPr>
              <p:grpSpPr>
                <a:xfrm>
                  <a:off x="1560210" y="1481664"/>
                  <a:ext cx="778085" cy="770381"/>
                  <a:chOff x="1428431" y="3927506"/>
                  <a:chExt cx="778085" cy="770381"/>
                </a:xfrm>
              </p:grpSpPr>
              <p:sp>
                <p:nvSpPr>
                  <p:cNvPr id="42" name="Oval 41">
                    <a:extLst>
                      <a:ext uri="{FF2B5EF4-FFF2-40B4-BE49-F238E27FC236}">
                        <a16:creationId xmlns:a16="http://schemas.microsoft.com/office/drawing/2014/main" id="{FCBCD9D8-518E-40BB-8057-2CB4357DE918}"/>
                      </a:ext>
                    </a:extLst>
                  </p:cNvPr>
                  <p:cNvSpPr/>
                  <p:nvPr/>
                </p:nvSpPr>
                <p:spPr>
                  <a:xfrm>
                    <a:off x="1428431" y="3927506"/>
                    <a:ext cx="778085" cy="770381"/>
                  </a:xfrm>
                  <a:prstGeom prst="ellipse">
                    <a:avLst/>
                  </a:prstGeom>
                  <a:solidFill>
                    <a:schemeClr val="accent6">
                      <a:lumMod val="60000"/>
                      <a:lumOff val="40000"/>
                      <a:alpha val="50000"/>
                    </a:schemeClr>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3890D58F-AB28-4492-99AB-16D4B8B4A810}"/>
                      </a:ext>
                    </a:extLst>
                  </p:cNvPr>
                  <p:cNvSpPr/>
                  <p:nvPr/>
                </p:nvSpPr>
                <p:spPr>
                  <a:xfrm>
                    <a:off x="1537428" y="4035425"/>
                    <a:ext cx="560091" cy="554543"/>
                  </a:xfrm>
                  <a:prstGeom prst="ellipse">
                    <a:avLst/>
                  </a:prstGeom>
                  <a:solidFill>
                    <a:schemeClr val="accent6">
                      <a:lumMod val="60000"/>
                      <a:lumOff val="4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endParaRPr>
                  </a:p>
                </p:txBody>
              </p:sp>
            </p:grpSp>
          </p:grpSp>
          <p:sp>
            <p:nvSpPr>
              <p:cNvPr id="39" name="Rectangle 38">
                <a:extLst>
                  <a:ext uri="{FF2B5EF4-FFF2-40B4-BE49-F238E27FC236}">
                    <a16:creationId xmlns:a16="http://schemas.microsoft.com/office/drawing/2014/main" id="{10D34104-92B5-49F5-9A0D-DB50246CC24E}"/>
                  </a:ext>
                </a:extLst>
              </p:cNvPr>
              <p:cNvSpPr/>
              <p:nvPr/>
            </p:nvSpPr>
            <p:spPr>
              <a:xfrm>
                <a:off x="722867" y="2874810"/>
                <a:ext cx="2124002" cy="27524"/>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37" name="Rectangle 36">
              <a:extLst>
                <a:ext uri="{FF2B5EF4-FFF2-40B4-BE49-F238E27FC236}">
                  <a16:creationId xmlns:a16="http://schemas.microsoft.com/office/drawing/2014/main" id="{231D2B7E-26EB-4292-B59B-9267006A1ECA}"/>
                </a:ext>
              </a:extLst>
            </p:cNvPr>
            <p:cNvSpPr/>
            <p:nvPr/>
          </p:nvSpPr>
          <p:spPr>
            <a:xfrm>
              <a:off x="636041" y="3055574"/>
              <a:ext cx="2299622" cy="1600438"/>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 group focus is on developing the use cases and establishing the overall scope based on the follow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0">
                <a:solidFill>
                  <a:srgbClr val="FFFFFF"/>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se Case Development</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ptimize System Load</a:t>
              </a:r>
              <a:endParaRPr kumimoji="0" lang="en-US"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nhance Query Routing</a:t>
              </a:r>
            </a:p>
          </p:txBody>
        </p:sp>
      </p:grpSp>
      <p:grpSp>
        <p:nvGrpSpPr>
          <p:cNvPr id="47" name="Group 46">
            <a:extLst>
              <a:ext uri="{FF2B5EF4-FFF2-40B4-BE49-F238E27FC236}">
                <a16:creationId xmlns:a16="http://schemas.microsoft.com/office/drawing/2014/main" id="{AA11F8C8-E9AF-4661-B30B-B22ECCFAFB8B}"/>
              </a:ext>
            </a:extLst>
          </p:cNvPr>
          <p:cNvGrpSpPr/>
          <p:nvPr/>
        </p:nvGrpSpPr>
        <p:grpSpPr>
          <a:xfrm>
            <a:off x="9231187" y="1794014"/>
            <a:ext cx="2416221" cy="4027067"/>
            <a:chOff x="576758" y="1481664"/>
            <a:chExt cx="2416221" cy="4027067"/>
          </a:xfrm>
        </p:grpSpPr>
        <p:sp>
          <p:nvSpPr>
            <p:cNvPr id="49" name="TextBox 48">
              <a:extLst>
                <a:ext uri="{FF2B5EF4-FFF2-40B4-BE49-F238E27FC236}">
                  <a16:creationId xmlns:a16="http://schemas.microsoft.com/office/drawing/2014/main" id="{C1146CC4-5572-4F7F-8F57-57B0E3D6E08A}"/>
                </a:ext>
              </a:extLst>
            </p:cNvPr>
            <p:cNvSpPr txBox="1"/>
            <p:nvPr/>
          </p:nvSpPr>
          <p:spPr>
            <a:xfrm>
              <a:off x="636041" y="2594755"/>
              <a:ext cx="1809308" cy="27699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000000">
                      <a:lumMod val="85000"/>
                      <a:lumOff val="15000"/>
                    </a:srgbClr>
                  </a:solidFill>
                  <a:effectLst/>
                  <a:uLnTx/>
                  <a:uFillTx/>
                  <a:ea typeface="+mn-ea"/>
                  <a:cs typeface="Arial" panose="020B0604020202020204" pitchFamily="34" charset="0"/>
                </a:rPr>
                <a:t>End-to-End</a:t>
              </a:r>
            </a:p>
          </p:txBody>
        </p:sp>
        <p:grpSp>
          <p:nvGrpSpPr>
            <p:cNvPr id="50" name="Group 49">
              <a:extLst>
                <a:ext uri="{FF2B5EF4-FFF2-40B4-BE49-F238E27FC236}">
                  <a16:creationId xmlns:a16="http://schemas.microsoft.com/office/drawing/2014/main" id="{8D6A19C9-07F6-4128-B7D0-653F75148FAA}"/>
                </a:ext>
              </a:extLst>
            </p:cNvPr>
            <p:cNvGrpSpPr/>
            <p:nvPr/>
          </p:nvGrpSpPr>
          <p:grpSpPr>
            <a:xfrm>
              <a:off x="576758" y="1481664"/>
              <a:ext cx="2416221" cy="4027067"/>
              <a:chOff x="576758" y="1481664"/>
              <a:chExt cx="2416221" cy="4027067"/>
            </a:xfrm>
          </p:grpSpPr>
          <p:grpSp>
            <p:nvGrpSpPr>
              <p:cNvPr id="52" name="Group 51">
                <a:extLst>
                  <a:ext uri="{FF2B5EF4-FFF2-40B4-BE49-F238E27FC236}">
                    <a16:creationId xmlns:a16="http://schemas.microsoft.com/office/drawing/2014/main" id="{54176416-7231-4C55-BC6C-96EE3257BDC2}"/>
                  </a:ext>
                </a:extLst>
              </p:cNvPr>
              <p:cNvGrpSpPr/>
              <p:nvPr/>
            </p:nvGrpSpPr>
            <p:grpSpPr>
              <a:xfrm>
                <a:off x="576758" y="1481664"/>
                <a:ext cx="2416221" cy="4027067"/>
                <a:chOff x="741142" y="1481664"/>
                <a:chExt cx="2416221" cy="4027067"/>
              </a:xfrm>
            </p:grpSpPr>
            <p:grpSp>
              <p:nvGrpSpPr>
                <p:cNvPr id="54" name="Group 53">
                  <a:extLst>
                    <a:ext uri="{FF2B5EF4-FFF2-40B4-BE49-F238E27FC236}">
                      <a16:creationId xmlns:a16="http://schemas.microsoft.com/office/drawing/2014/main" id="{302E9A8F-ADE4-413E-B566-529AE873DC4C}"/>
                    </a:ext>
                  </a:extLst>
                </p:cNvPr>
                <p:cNvGrpSpPr/>
                <p:nvPr/>
              </p:nvGrpSpPr>
              <p:grpSpPr>
                <a:xfrm>
                  <a:off x="741142" y="1865780"/>
                  <a:ext cx="2416221" cy="3642951"/>
                  <a:chOff x="999916" y="1724312"/>
                  <a:chExt cx="2447778" cy="3905733"/>
                </a:xfrm>
              </p:grpSpPr>
              <p:sp>
                <p:nvSpPr>
                  <p:cNvPr id="58" name="Rectangle 57">
                    <a:extLst>
                      <a:ext uri="{FF2B5EF4-FFF2-40B4-BE49-F238E27FC236}">
                        <a16:creationId xmlns:a16="http://schemas.microsoft.com/office/drawing/2014/main" id="{35DDE0AA-CF51-42C2-B36C-1C07AC7204F6}"/>
                      </a:ext>
                    </a:extLst>
                  </p:cNvPr>
                  <p:cNvSpPr/>
                  <p:nvPr/>
                </p:nvSpPr>
                <p:spPr>
                  <a:xfrm>
                    <a:off x="1010990" y="2948592"/>
                    <a:ext cx="2378640" cy="2578346"/>
                  </a:xfrm>
                  <a:prstGeom prst="rect">
                    <a:avLst/>
                  </a:prstGeom>
                  <a:solidFill>
                    <a:schemeClr val="bg2">
                      <a:alpha val="10000"/>
                    </a:scheme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9" name="Rectangle 6">
                    <a:extLst>
                      <a:ext uri="{FF2B5EF4-FFF2-40B4-BE49-F238E27FC236}">
                        <a16:creationId xmlns:a16="http://schemas.microsoft.com/office/drawing/2014/main" id="{A659FB6C-0D19-4ECC-866E-818113941B79}"/>
                      </a:ext>
                    </a:extLst>
                  </p:cNvPr>
                  <p:cNvSpPr/>
                  <p:nvPr/>
                </p:nvSpPr>
                <p:spPr>
                  <a:xfrm>
                    <a:off x="999916" y="1724312"/>
                    <a:ext cx="2447778" cy="3905733"/>
                  </a:xfrm>
                  <a:custGeom>
                    <a:avLst/>
                    <a:gdLst>
                      <a:gd name="connsiteX0" fmla="*/ 0 w 2283087"/>
                      <a:gd name="connsiteY0" fmla="*/ 0 h 4188716"/>
                      <a:gd name="connsiteX1" fmla="*/ 2283087 w 2283087"/>
                      <a:gd name="connsiteY1" fmla="*/ 0 h 4188716"/>
                      <a:gd name="connsiteX2" fmla="*/ 2283087 w 2283087"/>
                      <a:gd name="connsiteY2" fmla="*/ 4188716 h 4188716"/>
                      <a:gd name="connsiteX3" fmla="*/ 0 w 2283087"/>
                      <a:gd name="connsiteY3" fmla="*/ 4188716 h 4188716"/>
                      <a:gd name="connsiteX4" fmla="*/ 0 w 2283087"/>
                      <a:gd name="connsiteY4" fmla="*/ 0 h 4188716"/>
                      <a:gd name="connsiteX0" fmla="*/ 0 w 2283087"/>
                      <a:gd name="connsiteY0" fmla="*/ 5269 h 4193985"/>
                      <a:gd name="connsiteX1" fmla="*/ 1141223 w 2283087"/>
                      <a:gd name="connsiteY1" fmla="*/ 0 h 4193985"/>
                      <a:gd name="connsiteX2" fmla="*/ 2283087 w 2283087"/>
                      <a:gd name="connsiteY2" fmla="*/ 5269 h 4193985"/>
                      <a:gd name="connsiteX3" fmla="*/ 2283087 w 2283087"/>
                      <a:gd name="connsiteY3" fmla="*/ 4193985 h 4193985"/>
                      <a:gd name="connsiteX4" fmla="*/ 0 w 2283087"/>
                      <a:gd name="connsiteY4" fmla="*/ 4193985 h 4193985"/>
                      <a:gd name="connsiteX5" fmla="*/ 0 w 2283087"/>
                      <a:gd name="connsiteY5" fmla="*/ 5269 h 4193985"/>
                      <a:gd name="connsiteX0" fmla="*/ 2283087 w 2374527"/>
                      <a:gd name="connsiteY0" fmla="*/ 5269 h 4193985"/>
                      <a:gd name="connsiteX1" fmla="*/ 2283087 w 2374527"/>
                      <a:gd name="connsiteY1" fmla="*/ 4193985 h 4193985"/>
                      <a:gd name="connsiteX2" fmla="*/ 0 w 2374527"/>
                      <a:gd name="connsiteY2" fmla="*/ 4193985 h 4193985"/>
                      <a:gd name="connsiteX3" fmla="*/ 0 w 2374527"/>
                      <a:gd name="connsiteY3" fmla="*/ 5269 h 4193985"/>
                      <a:gd name="connsiteX4" fmla="*/ 1141223 w 2374527"/>
                      <a:gd name="connsiteY4" fmla="*/ 0 h 4193985"/>
                      <a:gd name="connsiteX5" fmla="*/ 2374527 w 2374527"/>
                      <a:gd name="connsiteY5" fmla="*/ 96709 h 4193985"/>
                      <a:gd name="connsiteX0" fmla="*/ 2283087 w 2283087"/>
                      <a:gd name="connsiteY0" fmla="*/ 5269 h 4193985"/>
                      <a:gd name="connsiteX1" fmla="*/ 2283087 w 2283087"/>
                      <a:gd name="connsiteY1" fmla="*/ 4193985 h 4193985"/>
                      <a:gd name="connsiteX2" fmla="*/ 0 w 2283087"/>
                      <a:gd name="connsiteY2" fmla="*/ 4193985 h 4193985"/>
                      <a:gd name="connsiteX3" fmla="*/ 0 w 2283087"/>
                      <a:gd name="connsiteY3" fmla="*/ 5269 h 4193985"/>
                      <a:gd name="connsiteX4" fmla="*/ 1141223 w 2283087"/>
                      <a:gd name="connsiteY4" fmla="*/ 0 h 4193985"/>
                      <a:gd name="connsiteX0" fmla="*/ 2283087 w 2283087"/>
                      <a:gd name="connsiteY0" fmla="*/ 4193985 h 4193985"/>
                      <a:gd name="connsiteX1" fmla="*/ 0 w 2283087"/>
                      <a:gd name="connsiteY1" fmla="*/ 4193985 h 4193985"/>
                      <a:gd name="connsiteX2" fmla="*/ 0 w 2283087"/>
                      <a:gd name="connsiteY2" fmla="*/ 5269 h 4193985"/>
                      <a:gd name="connsiteX3" fmla="*/ 1141223 w 2283087"/>
                      <a:gd name="connsiteY3" fmla="*/ 0 h 4193985"/>
                      <a:gd name="connsiteX0" fmla="*/ 2283087 w 2283087"/>
                      <a:gd name="connsiteY0" fmla="*/ 4188716 h 4188716"/>
                      <a:gd name="connsiteX1" fmla="*/ 0 w 2283087"/>
                      <a:gd name="connsiteY1" fmla="*/ 4188716 h 4188716"/>
                      <a:gd name="connsiteX2" fmla="*/ 0 w 2283087"/>
                      <a:gd name="connsiteY2" fmla="*/ 0 h 4188716"/>
                      <a:gd name="connsiteX3" fmla="*/ 1152307 w 2283087"/>
                      <a:gd name="connsiteY3" fmla="*/ 272 h 4188716"/>
                    </a:gdLst>
                    <a:ahLst/>
                    <a:cxnLst>
                      <a:cxn ang="0">
                        <a:pos x="connsiteX0" y="connsiteY0"/>
                      </a:cxn>
                      <a:cxn ang="0">
                        <a:pos x="connsiteX1" y="connsiteY1"/>
                      </a:cxn>
                      <a:cxn ang="0">
                        <a:pos x="connsiteX2" y="connsiteY2"/>
                      </a:cxn>
                      <a:cxn ang="0">
                        <a:pos x="connsiteX3" y="connsiteY3"/>
                      </a:cxn>
                    </a:cxnLst>
                    <a:rect l="l" t="t" r="r" b="b"/>
                    <a:pathLst>
                      <a:path w="2283087" h="4188716">
                        <a:moveTo>
                          <a:pt x="2283087" y="4188716"/>
                        </a:moveTo>
                        <a:lnTo>
                          <a:pt x="0" y="4188716"/>
                        </a:lnTo>
                        <a:lnTo>
                          <a:pt x="0" y="0"/>
                        </a:lnTo>
                        <a:lnTo>
                          <a:pt x="1152307" y="272"/>
                        </a:lnTo>
                      </a:path>
                    </a:pathLst>
                  </a:custGeom>
                  <a:noFill/>
                  <a:ln w="6350" cap="sq">
                    <a:solidFill>
                      <a:schemeClr val="tx2">
                        <a:lumMod val="65000"/>
                        <a:lumOff val="35000"/>
                      </a:schemeClr>
                    </a:solidFill>
                    <a:prstDash val="dash"/>
                    <a:head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55" name="Group 54">
                  <a:extLst>
                    <a:ext uri="{FF2B5EF4-FFF2-40B4-BE49-F238E27FC236}">
                      <a16:creationId xmlns:a16="http://schemas.microsoft.com/office/drawing/2014/main" id="{B5EADA37-BF10-4E64-9A64-CE173AA3E4F1}"/>
                    </a:ext>
                  </a:extLst>
                </p:cNvPr>
                <p:cNvGrpSpPr/>
                <p:nvPr/>
              </p:nvGrpSpPr>
              <p:grpSpPr>
                <a:xfrm>
                  <a:off x="1560210" y="1481664"/>
                  <a:ext cx="778085" cy="770381"/>
                  <a:chOff x="1428431" y="3927506"/>
                  <a:chExt cx="778085" cy="770381"/>
                </a:xfrm>
              </p:grpSpPr>
              <p:sp>
                <p:nvSpPr>
                  <p:cNvPr id="56" name="Oval 55">
                    <a:extLst>
                      <a:ext uri="{FF2B5EF4-FFF2-40B4-BE49-F238E27FC236}">
                        <a16:creationId xmlns:a16="http://schemas.microsoft.com/office/drawing/2014/main" id="{FCBCD9D8-518E-40BB-8057-2CB4357DE918}"/>
                      </a:ext>
                    </a:extLst>
                  </p:cNvPr>
                  <p:cNvSpPr/>
                  <p:nvPr/>
                </p:nvSpPr>
                <p:spPr>
                  <a:xfrm>
                    <a:off x="1428431" y="3927506"/>
                    <a:ext cx="778085" cy="770381"/>
                  </a:xfrm>
                  <a:prstGeom prst="ellipse">
                    <a:avLst/>
                  </a:prstGeom>
                  <a:solidFill>
                    <a:schemeClr val="accent4">
                      <a:lumMod val="60000"/>
                      <a:lumOff val="40000"/>
                      <a:alpha val="50000"/>
                    </a:schemeClr>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57" name="Oval 56">
                    <a:extLst>
                      <a:ext uri="{FF2B5EF4-FFF2-40B4-BE49-F238E27FC236}">
                        <a16:creationId xmlns:a16="http://schemas.microsoft.com/office/drawing/2014/main" id="{3890D58F-AB28-4492-99AB-16D4B8B4A810}"/>
                      </a:ext>
                    </a:extLst>
                  </p:cNvPr>
                  <p:cNvSpPr/>
                  <p:nvPr/>
                </p:nvSpPr>
                <p:spPr>
                  <a:xfrm>
                    <a:off x="1537428" y="4035425"/>
                    <a:ext cx="560091" cy="554543"/>
                  </a:xfrm>
                  <a:prstGeom prst="ellipse">
                    <a:avLst/>
                  </a:prstGeom>
                  <a:solidFill>
                    <a:schemeClr val="accent4">
                      <a:lumMod val="60000"/>
                      <a:lumOff val="4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endParaRPr>
                  </a:p>
                </p:txBody>
              </p:sp>
            </p:grpSp>
          </p:grpSp>
          <p:sp>
            <p:nvSpPr>
              <p:cNvPr id="53" name="Rectangle 52">
                <a:extLst>
                  <a:ext uri="{FF2B5EF4-FFF2-40B4-BE49-F238E27FC236}">
                    <a16:creationId xmlns:a16="http://schemas.microsoft.com/office/drawing/2014/main" id="{10D34104-92B5-49F5-9A0D-DB50246CC24E}"/>
                  </a:ext>
                </a:extLst>
              </p:cNvPr>
              <p:cNvSpPr/>
              <p:nvPr/>
            </p:nvSpPr>
            <p:spPr>
              <a:xfrm>
                <a:off x="722867" y="2874810"/>
                <a:ext cx="2124002" cy="27524"/>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51" name="Rectangle 50">
              <a:extLst>
                <a:ext uri="{FF2B5EF4-FFF2-40B4-BE49-F238E27FC236}">
                  <a16:creationId xmlns:a16="http://schemas.microsoft.com/office/drawing/2014/main" id="{231D2B7E-26EB-4292-B59B-9267006A1ECA}"/>
                </a:ext>
              </a:extLst>
            </p:cNvPr>
            <p:cNvSpPr/>
            <p:nvPr/>
          </p:nvSpPr>
          <p:spPr>
            <a:xfrm>
              <a:off x="636040" y="3071758"/>
              <a:ext cx="2310553" cy="1846659"/>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0">
                  <a:solidFill>
                    <a:srgbClr val="FFFFFF"/>
                  </a:solidFill>
                  <a:latin typeface="Arial" panose="020B0604020202020204" pitchFamily="34" charset="0"/>
                  <a:cs typeface="Arial" panose="020B0604020202020204" pitchFamily="34" charset="0"/>
                </a:rPr>
                <a:t>Dedicated research of implementing the new PM framework for the end-to-end business needs of the air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0">
                <a:solidFill>
                  <a:srgbClr val="FFFFFF"/>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en-US" sz="1100" b="1" kern="0">
                  <a:solidFill>
                    <a:srgbClr val="FFFFFF"/>
                  </a:solidFill>
                  <a:latin typeface="Arial" panose="020B0604020202020204" pitchFamily="34" charset="0"/>
                  <a:cs typeface="Arial" panose="020B0604020202020204" pitchFamily="34" charset="0"/>
                </a:rPr>
                <a:t>Scope Definition </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en-US" sz="1100" b="1" kern="0">
                  <a:solidFill>
                    <a:srgbClr val="FFFFFF"/>
                  </a:solidFill>
                  <a:latin typeface="Arial" panose="020B0604020202020204" pitchFamily="34" charset="0"/>
                  <a:cs typeface="Arial" panose="020B0604020202020204" pitchFamily="34" charset="0"/>
                </a:rPr>
                <a:t>Ecosystem Impact Analysis </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en-US" sz="1100" b="1" kern="0">
                  <a:solidFill>
                    <a:srgbClr val="FFFFFF"/>
                  </a:solidFill>
                  <a:latin typeface="Arial" panose="020B0604020202020204" pitchFamily="34" charset="0"/>
                  <a:cs typeface="Arial" panose="020B0604020202020204" pitchFamily="34" charset="0"/>
                </a:rPr>
                <a:t>Intergroup Dependencies</a:t>
              </a:r>
            </a:p>
            <a:p>
              <a:pPr marL="171450" marR="0" lvl="0" indent="-171450" algn="l" defTabSz="9144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en-US" sz="1100" b="1" kern="0">
                  <a:solidFill>
                    <a:srgbClr val="FFFFFF"/>
                  </a:solidFill>
                  <a:latin typeface="Arial" panose="020B0604020202020204" pitchFamily="34" charset="0"/>
                  <a:cs typeface="Arial" panose="020B0604020202020204" pitchFamily="34" charset="0"/>
                </a:rPr>
                <a:t>Stakeholder Collaboration</a:t>
              </a:r>
            </a:p>
          </p:txBody>
        </p:sp>
      </p:grpSp>
      <p:pic>
        <p:nvPicPr>
          <p:cNvPr id="67" name="Graphic 66" descr="Remote learning language outline">
            <a:extLst>
              <a:ext uri="{FF2B5EF4-FFF2-40B4-BE49-F238E27FC236}">
                <a16:creationId xmlns:a16="http://schemas.microsoft.com/office/drawing/2014/main" id="{EB6A2DB9-301F-157C-8721-FD264010EA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34691" y="1966035"/>
            <a:ext cx="432398" cy="432398"/>
          </a:xfrm>
          <a:prstGeom prst="rect">
            <a:avLst/>
          </a:prstGeom>
        </p:spPr>
      </p:pic>
      <p:pic>
        <p:nvPicPr>
          <p:cNvPr id="69" name="Graphic 68" descr="Search Inventory outline">
            <a:extLst>
              <a:ext uri="{FF2B5EF4-FFF2-40B4-BE49-F238E27FC236}">
                <a16:creationId xmlns:a16="http://schemas.microsoft.com/office/drawing/2014/main" id="{B8C2659F-5589-50D1-0713-C82E2C3C07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03420" y="1940655"/>
            <a:ext cx="433609" cy="433609"/>
          </a:xfrm>
          <a:prstGeom prst="rect">
            <a:avLst/>
          </a:prstGeom>
        </p:spPr>
      </p:pic>
      <p:pic>
        <p:nvPicPr>
          <p:cNvPr id="6" name="Graphic 5" descr="Network outline">
            <a:extLst>
              <a:ext uri="{FF2B5EF4-FFF2-40B4-BE49-F238E27FC236}">
                <a16:creationId xmlns:a16="http://schemas.microsoft.com/office/drawing/2014/main" id="{B898C60C-0B3F-9B15-7B4F-35273D2A12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20098" y="1887256"/>
            <a:ext cx="525108" cy="525108"/>
          </a:xfrm>
          <a:prstGeom prst="rect">
            <a:avLst/>
          </a:prstGeom>
        </p:spPr>
      </p:pic>
      <p:pic>
        <p:nvPicPr>
          <p:cNvPr id="20" name="Graphic 19" descr="Transfer outline">
            <a:extLst>
              <a:ext uri="{FF2B5EF4-FFF2-40B4-BE49-F238E27FC236}">
                <a16:creationId xmlns:a16="http://schemas.microsoft.com/office/drawing/2014/main" id="{C854042A-C8CA-77D4-3A96-8BB5FE9367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07565" y="1942470"/>
            <a:ext cx="471320" cy="471320"/>
          </a:xfrm>
          <a:prstGeom prst="rect">
            <a:avLst/>
          </a:prstGeom>
        </p:spPr>
      </p:pic>
      <p:sp>
        <p:nvSpPr>
          <p:cNvPr id="4" name="Date Placeholder 3">
            <a:extLst>
              <a:ext uri="{FF2B5EF4-FFF2-40B4-BE49-F238E27FC236}">
                <a16:creationId xmlns:a16="http://schemas.microsoft.com/office/drawing/2014/main" id="{36EE3288-1520-8F67-4A2C-058DE3CAA8E2}"/>
              </a:ext>
            </a:extLst>
          </p:cNvPr>
          <p:cNvSpPr>
            <a:spLocks noGrp="1"/>
          </p:cNvSpPr>
          <p:nvPr>
            <p:ph type="dt" sz="half" idx="10"/>
          </p:nvPr>
        </p:nvSpPr>
        <p:spPr/>
        <p:txBody>
          <a:bodyPr/>
          <a:lstStyle/>
          <a:p>
            <a:r>
              <a:rPr lang="de-DE"/>
              <a:t>02 November 2025</a:t>
            </a:r>
            <a:endParaRPr lang="en-US"/>
          </a:p>
        </p:txBody>
      </p:sp>
      <p:sp>
        <p:nvSpPr>
          <p:cNvPr id="9" name="Footer Placeholder 8">
            <a:extLst>
              <a:ext uri="{FF2B5EF4-FFF2-40B4-BE49-F238E27FC236}">
                <a16:creationId xmlns:a16="http://schemas.microsoft.com/office/drawing/2014/main" id="{A22AE55E-8250-9654-49C3-B209279619FF}"/>
              </a:ext>
            </a:extLst>
          </p:cNvPr>
          <p:cNvSpPr>
            <a:spLocks noGrp="1"/>
          </p:cNvSpPr>
          <p:nvPr>
            <p:ph type="ftr" sz="quarter" idx="11"/>
          </p:nvPr>
        </p:nvSpPr>
        <p:spPr/>
        <p:txBody>
          <a:bodyPr/>
          <a:lstStyle/>
          <a:p>
            <a:r>
              <a:rPr lang="en-US"/>
              <a:t>APMWG</a:t>
            </a:r>
          </a:p>
        </p:txBody>
      </p:sp>
      <p:sp>
        <p:nvSpPr>
          <p:cNvPr id="18" name="Slide Number Placeholder 17">
            <a:extLst>
              <a:ext uri="{FF2B5EF4-FFF2-40B4-BE49-F238E27FC236}">
                <a16:creationId xmlns:a16="http://schemas.microsoft.com/office/drawing/2014/main" id="{6204BB63-CA1C-36B3-ECD5-15E9086BA7C4}"/>
              </a:ext>
            </a:extLst>
          </p:cNvPr>
          <p:cNvSpPr>
            <a:spLocks noGrp="1"/>
          </p:cNvSpPr>
          <p:nvPr>
            <p:ph type="sldNum" sz="quarter" idx="12"/>
          </p:nvPr>
        </p:nvSpPr>
        <p:spPr/>
        <p:txBody>
          <a:bodyPr/>
          <a:lstStyle/>
          <a:p>
            <a:fld id="{1A9E565A-6679-4A67-8FB7-14EA342FD6E1}" type="slidenum">
              <a:rPr lang="en-US" smtClean="0"/>
              <a:pPr/>
              <a:t>5</a:t>
            </a:fld>
            <a:endParaRPr lang="en-US"/>
          </a:p>
        </p:txBody>
      </p:sp>
    </p:spTree>
    <p:extLst>
      <p:ext uri="{BB962C8B-B14F-4D97-AF65-F5344CB8AC3E}">
        <p14:creationId xmlns:p14="http://schemas.microsoft.com/office/powerpoint/2010/main" val="2776491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272323" y="2229173"/>
            <a:ext cx="3029459" cy="1086537"/>
          </a:xfrm>
          <a:custGeom>
            <a:avLst/>
            <a:gdLst/>
            <a:ahLst/>
            <a:cxnLst/>
            <a:rect l="0" t="0" r="0" b="0"/>
            <a:pathLst>
              <a:path w="2034283" h="832206">
                <a:moveTo>
                  <a:pt x="2034283" y="785973"/>
                </a:moveTo>
                <a:cubicBezTo>
                  <a:pt x="2034283" y="811509"/>
                  <a:pt x="2013585" y="832206"/>
                  <a:pt x="1988049" y="832206"/>
                </a:cubicBezTo>
                <a:lnTo>
                  <a:pt x="1941815" y="832206"/>
                </a:lnTo>
                <a:lnTo>
                  <a:pt x="46233" y="832206"/>
                </a:lnTo>
                <a:cubicBezTo>
                  <a:pt x="20697" y="832206"/>
                  <a:pt x="0" y="811509"/>
                  <a:pt x="0" y="785973"/>
                </a:cubicBezTo>
                <a:lnTo>
                  <a:pt x="0" y="46233"/>
                </a:lnTo>
                <a:cubicBezTo>
                  <a:pt x="0" y="20697"/>
                  <a:pt x="20697" y="0"/>
                  <a:pt x="46233" y="0"/>
                </a:cubicBezTo>
                <a:lnTo>
                  <a:pt x="1988049" y="0"/>
                </a:lnTo>
                <a:cubicBezTo>
                  <a:pt x="2013585" y="0"/>
                  <a:pt x="2034283" y="20697"/>
                  <a:pt x="2034283" y="46233"/>
                </a:cubicBezTo>
                <a:lnTo>
                  <a:pt x="2034283" y="785973"/>
                </a:lnTo>
              </a:path>
            </a:pathLst>
          </a:custGeom>
          <a:noFill/>
          <a:ln>
            <a:solidFill>
              <a:schemeClr val="accent1"/>
            </a:solidFill>
          </a:ln>
        </p:spPr>
        <p:txBody>
          <a:bodyPr rtlCol="0" anchor="ctr"/>
          <a:lstStyle/>
          <a:p>
            <a:pPr algn="ctr"/>
            <a:endParaRPr/>
          </a:p>
        </p:txBody>
      </p:sp>
      <p:sp>
        <p:nvSpPr>
          <p:cNvPr id="6" name="Rounded Rectangle 5"/>
          <p:cNvSpPr/>
          <p:nvPr/>
        </p:nvSpPr>
        <p:spPr>
          <a:xfrm>
            <a:off x="272323" y="3436437"/>
            <a:ext cx="3029459" cy="1086537"/>
          </a:xfrm>
          <a:custGeom>
            <a:avLst/>
            <a:gdLst/>
            <a:ahLst/>
            <a:cxnLst/>
            <a:rect l="0" t="0" r="0" b="0"/>
            <a:pathLst>
              <a:path w="2034283" h="832206">
                <a:moveTo>
                  <a:pt x="2034283" y="785973"/>
                </a:moveTo>
                <a:cubicBezTo>
                  <a:pt x="2034283" y="811509"/>
                  <a:pt x="2013585" y="832206"/>
                  <a:pt x="1988049" y="832206"/>
                </a:cubicBezTo>
                <a:lnTo>
                  <a:pt x="1941815" y="832206"/>
                </a:lnTo>
                <a:lnTo>
                  <a:pt x="46233" y="832206"/>
                </a:lnTo>
                <a:cubicBezTo>
                  <a:pt x="20697" y="832206"/>
                  <a:pt x="0" y="811509"/>
                  <a:pt x="0" y="785973"/>
                </a:cubicBezTo>
                <a:lnTo>
                  <a:pt x="0" y="46233"/>
                </a:lnTo>
                <a:cubicBezTo>
                  <a:pt x="0" y="20697"/>
                  <a:pt x="20697" y="0"/>
                  <a:pt x="46233" y="0"/>
                </a:cubicBezTo>
                <a:lnTo>
                  <a:pt x="1988049" y="0"/>
                </a:lnTo>
                <a:cubicBezTo>
                  <a:pt x="2013585" y="0"/>
                  <a:pt x="2034283" y="20697"/>
                  <a:pt x="2034283" y="46233"/>
                </a:cubicBezTo>
                <a:lnTo>
                  <a:pt x="2034283" y="785973"/>
                </a:lnTo>
              </a:path>
            </a:pathLst>
          </a:custGeom>
          <a:noFill/>
          <a:ln>
            <a:solidFill>
              <a:schemeClr val="accent1"/>
            </a:solidFill>
          </a:ln>
        </p:spPr>
        <p:txBody>
          <a:bodyPr rtlCol="0" anchor="ctr"/>
          <a:lstStyle/>
          <a:p>
            <a:pPr algn="ctr"/>
            <a:endParaRPr/>
          </a:p>
        </p:txBody>
      </p:sp>
      <p:sp>
        <p:nvSpPr>
          <p:cNvPr id="8" name="Rounded Rectangle 7"/>
          <p:cNvSpPr/>
          <p:nvPr/>
        </p:nvSpPr>
        <p:spPr>
          <a:xfrm>
            <a:off x="272323" y="4643702"/>
            <a:ext cx="3029459" cy="1086537"/>
          </a:xfrm>
          <a:custGeom>
            <a:avLst/>
            <a:gdLst/>
            <a:ahLst/>
            <a:cxnLst/>
            <a:rect l="0" t="0" r="0" b="0"/>
            <a:pathLst>
              <a:path w="2034283" h="832206">
                <a:moveTo>
                  <a:pt x="2034283" y="785973"/>
                </a:moveTo>
                <a:cubicBezTo>
                  <a:pt x="2034283" y="811509"/>
                  <a:pt x="2013585" y="832206"/>
                  <a:pt x="1988049" y="832206"/>
                </a:cubicBezTo>
                <a:lnTo>
                  <a:pt x="1941815" y="832206"/>
                </a:lnTo>
                <a:lnTo>
                  <a:pt x="46233" y="832206"/>
                </a:lnTo>
                <a:cubicBezTo>
                  <a:pt x="20697" y="832206"/>
                  <a:pt x="0" y="811509"/>
                  <a:pt x="0" y="785973"/>
                </a:cubicBezTo>
                <a:lnTo>
                  <a:pt x="0" y="46233"/>
                </a:lnTo>
                <a:cubicBezTo>
                  <a:pt x="0" y="20697"/>
                  <a:pt x="20697" y="0"/>
                  <a:pt x="46233" y="0"/>
                </a:cubicBezTo>
                <a:lnTo>
                  <a:pt x="1988049" y="0"/>
                </a:lnTo>
                <a:cubicBezTo>
                  <a:pt x="2013585" y="0"/>
                  <a:pt x="2034283" y="20697"/>
                  <a:pt x="2034283" y="46233"/>
                </a:cubicBezTo>
                <a:lnTo>
                  <a:pt x="2034283" y="785973"/>
                </a:lnTo>
              </a:path>
            </a:pathLst>
          </a:custGeom>
          <a:noFill/>
          <a:ln>
            <a:solidFill>
              <a:schemeClr val="accent1"/>
            </a:solidFill>
          </a:ln>
        </p:spPr>
        <p:txBody>
          <a:bodyPr rtlCol="0" anchor="ctr"/>
          <a:lstStyle/>
          <a:p>
            <a:pPr algn="ctr"/>
            <a:endParaRPr/>
          </a:p>
        </p:txBody>
      </p:sp>
      <p:sp>
        <p:nvSpPr>
          <p:cNvPr id="10" name="Rounded Rectangle 9"/>
          <p:cNvSpPr/>
          <p:nvPr/>
        </p:nvSpPr>
        <p:spPr>
          <a:xfrm>
            <a:off x="3439484" y="1625542"/>
            <a:ext cx="1927837" cy="482905"/>
          </a:xfrm>
          <a:custGeom>
            <a:avLst/>
            <a:gdLst/>
            <a:ahLst/>
            <a:cxnLst/>
            <a:rect l="0" t="0" r="0" b="0"/>
            <a:pathLst>
              <a:path w="1294543" h="369869">
                <a:moveTo>
                  <a:pt x="1294543" y="323635"/>
                </a:moveTo>
                <a:cubicBezTo>
                  <a:pt x="1294543" y="349172"/>
                  <a:pt x="1273846" y="369869"/>
                  <a:pt x="1248310" y="369869"/>
                </a:cubicBezTo>
                <a:lnTo>
                  <a:pt x="1202076" y="369869"/>
                </a:lnTo>
                <a:lnTo>
                  <a:pt x="46233" y="369869"/>
                </a:lnTo>
                <a:cubicBezTo>
                  <a:pt x="20697" y="369869"/>
                  <a:pt x="0" y="349172"/>
                  <a:pt x="0" y="323635"/>
                </a:cubicBezTo>
                <a:lnTo>
                  <a:pt x="0" y="46233"/>
                </a:lnTo>
                <a:cubicBezTo>
                  <a:pt x="0" y="20697"/>
                  <a:pt x="20697" y="0"/>
                  <a:pt x="46233" y="0"/>
                </a:cubicBezTo>
                <a:lnTo>
                  <a:pt x="1248310" y="0"/>
                </a:lnTo>
                <a:cubicBezTo>
                  <a:pt x="1273846" y="0"/>
                  <a:pt x="1294543" y="20697"/>
                  <a:pt x="1294543" y="46233"/>
                </a:cubicBezTo>
                <a:lnTo>
                  <a:pt x="1294543" y="323635"/>
                </a:lnTo>
              </a:path>
            </a:pathLst>
          </a:custGeom>
          <a:solidFill>
            <a:srgbClr val="FFF8B6"/>
          </a:solidFill>
          <a:ln>
            <a:noFill/>
          </a:ln>
        </p:spPr>
        <p:txBody>
          <a:bodyPr rtlCol="0" anchor="ctr"/>
          <a:lstStyle/>
          <a:p>
            <a:pPr algn="ctr"/>
            <a:endParaRPr sz="2000"/>
          </a:p>
        </p:txBody>
      </p:sp>
      <p:sp>
        <p:nvSpPr>
          <p:cNvPr id="11" name="Rounded Rectangle 10"/>
          <p:cNvSpPr/>
          <p:nvPr/>
        </p:nvSpPr>
        <p:spPr>
          <a:xfrm>
            <a:off x="3439484" y="1625542"/>
            <a:ext cx="1927837" cy="482905"/>
          </a:xfrm>
          <a:custGeom>
            <a:avLst/>
            <a:gdLst/>
            <a:ahLst/>
            <a:cxnLst/>
            <a:rect l="0" t="0" r="0" b="0"/>
            <a:pathLst>
              <a:path w="1294543" h="369869">
                <a:moveTo>
                  <a:pt x="0" y="92467"/>
                </a:moveTo>
                <a:lnTo>
                  <a:pt x="0" y="46233"/>
                </a:lnTo>
                <a:cubicBezTo>
                  <a:pt x="0" y="20699"/>
                  <a:pt x="20699" y="0"/>
                  <a:pt x="46233" y="0"/>
                </a:cubicBezTo>
                <a:lnTo>
                  <a:pt x="92467" y="0"/>
                </a:lnTo>
                <a:moveTo>
                  <a:pt x="1294543" y="92467"/>
                </a:moveTo>
                <a:lnTo>
                  <a:pt x="1294543" y="277402"/>
                </a:lnTo>
                <a:moveTo>
                  <a:pt x="0" y="277402"/>
                </a:moveTo>
                <a:lnTo>
                  <a:pt x="0" y="92467"/>
                </a:lnTo>
                <a:moveTo>
                  <a:pt x="92467" y="0"/>
                </a:moveTo>
                <a:lnTo>
                  <a:pt x="1202076" y="0"/>
                </a:lnTo>
                <a:moveTo>
                  <a:pt x="0" y="277402"/>
                </a:moveTo>
                <a:lnTo>
                  <a:pt x="0" y="323635"/>
                </a:lnTo>
                <a:cubicBezTo>
                  <a:pt x="0" y="349170"/>
                  <a:pt x="20699" y="369869"/>
                  <a:pt x="46233" y="369869"/>
                </a:cubicBezTo>
                <a:lnTo>
                  <a:pt x="92467" y="369869"/>
                </a:lnTo>
                <a:moveTo>
                  <a:pt x="1294543" y="92467"/>
                </a:moveTo>
                <a:lnTo>
                  <a:pt x="1294543" y="46233"/>
                </a:lnTo>
                <a:cubicBezTo>
                  <a:pt x="1294543" y="20699"/>
                  <a:pt x="1273844" y="0"/>
                  <a:pt x="1248310" y="0"/>
                </a:cubicBezTo>
                <a:lnTo>
                  <a:pt x="1202076" y="0"/>
                </a:lnTo>
                <a:moveTo>
                  <a:pt x="1202076" y="369869"/>
                </a:moveTo>
                <a:lnTo>
                  <a:pt x="92467" y="369869"/>
                </a:lnTo>
                <a:moveTo>
                  <a:pt x="1294543" y="277402"/>
                </a:moveTo>
                <a:lnTo>
                  <a:pt x="1294543" y="323635"/>
                </a:lnTo>
                <a:cubicBezTo>
                  <a:pt x="1294543" y="349170"/>
                  <a:pt x="1273844" y="369869"/>
                  <a:pt x="1248310" y="369869"/>
                </a:cubicBezTo>
                <a:lnTo>
                  <a:pt x="1202076" y="369869"/>
                </a:lnTo>
              </a:path>
            </a:pathLst>
          </a:custGeom>
          <a:noFill/>
          <a:ln w="11558">
            <a:solidFill>
              <a:srgbClr val="FFFFFF"/>
            </a:solidFill>
          </a:ln>
        </p:spPr>
        <p:txBody>
          <a:bodyPr rtlCol="0" anchor="ctr"/>
          <a:lstStyle/>
          <a:p>
            <a:pPr algn="ctr"/>
            <a:endParaRPr sz="2000"/>
          </a:p>
        </p:txBody>
      </p:sp>
      <p:sp>
        <p:nvSpPr>
          <p:cNvPr id="12" name="Rounded Rectangle 11"/>
          <p:cNvSpPr/>
          <p:nvPr/>
        </p:nvSpPr>
        <p:spPr>
          <a:xfrm>
            <a:off x="3439484" y="2229173"/>
            <a:ext cx="1927837" cy="1086537"/>
          </a:xfrm>
          <a:custGeom>
            <a:avLst/>
            <a:gdLst/>
            <a:ahLst/>
            <a:cxnLst/>
            <a:rect l="0" t="0" r="0" b="0"/>
            <a:pathLst>
              <a:path w="1294543" h="832206">
                <a:moveTo>
                  <a:pt x="1294543" y="785973"/>
                </a:moveTo>
                <a:cubicBezTo>
                  <a:pt x="1294543" y="811509"/>
                  <a:pt x="1273846" y="832206"/>
                  <a:pt x="1248310" y="832206"/>
                </a:cubicBezTo>
                <a:lnTo>
                  <a:pt x="1202076" y="832206"/>
                </a:lnTo>
                <a:lnTo>
                  <a:pt x="46233" y="832206"/>
                </a:lnTo>
                <a:cubicBezTo>
                  <a:pt x="20697" y="832206"/>
                  <a:pt x="0" y="811509"/>
                  <a:pt x="0" y="785973"/>
                </a:cubicBezTo>
                <a:lnTo>
                  <a:pt x="0" y="46233"/>
                </a:lnTo>
                <a:cubicBezTo>
                  <a:pt x="0" y="20697"/>
                  <a:pt x="20697" y="0"/>
                  <a:pt x="46233" y="0"/>
                </a:cubicBezTo>
                <a:lnTo>
                  <a:pt x="1248310" y="0"/>
                </a:lnTo>
                <a:cubicBezTo>
                  <a:pt x="1273846" y="0"/>
                  <a:pt x="1294543" y="20697"/>
                  <a:pt x="1294543" y="46233"/>
                </a:cubicBezTo>
                <a:lnTo>
                  <a:pt x="1294543" y="785973"/>
                </a:lnTo>
              </a:path>
            </a:pathLst>
          </a:custGeom>
          <a:solidFill>
            <a:srgbClr val="FFF8B6"/>
          </a:solidFill>
          <a:ln>
            <a:noFill/>
          </a:ln>
        </p:spPr>
        <p:txBody>
          <a:bodyPr rtlCol="0" anchor="ctr"/>
          <a:lstStyle/>
          <a:p>
            <a:pPr algn="ctr"/>
            <a:endParaRPr sz="2000"/>
          </a:p>
        </p:txBody>
      </p:sp>
      <p:sp>
        <p:nvSpPr>
          <p:cNvPr id="13" name="Rounded Rectangle 12"/>
          <p:cNvSpPr/>
          <p:nvPr/>
        </p:nvSpPr>
        <p:spPr>
          <a:xfrm>
            <a:off x="3439484" y="2229173"/>
            <a:ext cx="1927837" cy="1086537"/>
          </a:xfrm>
          <a:custGeom>
            <a:avLst/>
            <a:gdLst/>
            <a:ahLst/>
            <a:cxnLst/>
            <a:rect l="0" t="0" r="0" b="0"/>
            <a:pathLst>
              <a:path w="1294543" h="832206">
                <a:moveTo>
                  <a:pt x="0" y="92467"/>
                </a:moveTo>
                <a:lnTo>
                  <a:pt x="0" y="46233"/>
                </a:lnTo>
                <a:cubicBezTo>
                  <a:pt x="0" y="20699"/>
                  <a:pt x="20699" y="0"/>
                  <a:pt x="46233" y="0"/>
                </a:cubicBezTo>
                <a:lnTo>
                  <a:pt x="92467" y="0"/>
                </a:lnTo>
                <a:moveTo>
                  <a:pt x="1294543" y="92467"/>
                </a:moveTo>
                <a:lnTo>
                  <a:pt x="1294543" y="739739"/>
                </a:lnTo>
                <a:moveTo>
                  <a:pt x="0" y="739739"/>
                </a:moveTo>
                <a:lnTo>
                  <a:pt x="0" y="92467"/>
                </a:lnTo>
                <a:moveTo>
                  <a:pt x="92467" y="0"/>
                </a:moveTo>
                <a:lnTo>
                  <a:pt x="1202076" y="0"/>
                </a:lnTo>
                <a:moveTo>
                  <a:pt x="0" y="739739"/>
                </a:moveTo>
                <a:lnTo>
                  <a:pt x="0" y="785972"/>
                </a:lnTo>
                <a:cubicBezTo>
                  <a:pt x="0" y="811507"/>
                  <a:pt x="20699" y="832206"/>
                  <a:pt x="46233" y="832206"/>
                </a:cubicBezTo>
                <a:lnTo>
                  <a:pt x="92467" y="832206"/>
                </a:lnTo>
                <a:moveTo>
                  <a:pt x="1294543" y="92467"/>
                </a:moveTo>
                <a:lnTo>
                  <a:pt x="1294543" y="46233"/>
                </a:lnTo>
                <a:cubicBezTo>
                  <a:pt x="1294543" y="20699"/>
                  <a:pt x="1273844" y="0"/>
                  <a:pt x="1248310" y="0"/>
                </a:cubicBezTo>
                <a:lnTo>
                  <a:pt x="1202076" y="0"/>
                </a:lnTo>
                <a:moveTo>
                  <a:pt x="1202076" y="832206"/>
                </a:moveTo>
                <a:lnTo>
                  <a:pt x="92467" y="832206"/>
                </a:lnTo>
                <a:moveTo>
                  <a:pt x="1294543" y="739739"/>
                </a:moveTo>
                <a:lnTo>
                  <a:pt x="1294543" y="785972"/>
                </a:lnTo>
                <a:cubicBezTo>
                  <a:pt x="1294543" y="811507"/>
                  <a:pt x="1273844" y="832206"/>
                  <a:pt x="1248310" y="832206"/>
                </a:cubicBezTo>
                <a:lnTo>
                  <a:pt x="1202076" y="832206"/>
                </a:lnTo>
              </a:path>
            </a:pathLst>
          </a:custGeom>
          <a:noFill/>
          <a:ln w="11558">
            <a:solidFill>
              <a:srgbClr val="FFFFFF"/>
            </a:solidFill>
          </a:ln>
        </p:spPr>
        <p:txBody>
          <a:bodyPr rtlCol="0" anchor="ctr"/>
          <a:lstStyle/>
          <a:p>
            <a:pPr algn="ctr"/>
            <a:endParaRPr sz="2000"/>
          </a:p>
        </p:txBody>
      </p:sp>
      <p:sp>
        <p:nvSpPr>
          <p:cNvPr id="14" name="Rounded Rectangle 13"/>
          <p:cNvSpPr/>
          <p:nvPr/>
        </p:nvSpPr>
        <p:spPr>
          <a:xfrm>
            <a:off x="3439484" y="3436437"/>
            <a:ext cx="1927837" cy="1086537"/>
          </a:xfrm>
          <a:custGeom>
            <a:avLst/>
            <a:gdLst/>
            <a:ahLst/>
            <a:cxnLst/>
            <a:rect l="0" t="0" r="0" b="0"/>
            <a:pathLst>
              <a:path w="1294543" h="832206">
                <a:moveTo>
                  <a:pt x="1294543" y="785973"/>
                </a:moveTo>
                <a:cubicBezTo>
                  <a:pt x="1294543" y="811509"/>
                  <a:pt x="1273846" y="832206"/>
                  <a:pt x="1248310" y="832206"/>
                </a:cubicBezTo>
                <a:lnTo>
                  <a:pt x="1202076" y="832206"/>
                </a:lnTo>
                <a:lnTo>
                  <a:pt x="46233" y="832206"/>
                </a:lnTo>
                <a:cubicBezTo>
                  <a:pt x="20697" y="832206"/>
                  <a:pt x="0" y="811509"/>
                  <a:pt x="0" y="785973"/>
                </a:cubicBezTo>
                <a:lnTo>
                  <a:pt x="0" y="46233"/>
                </a:lnTo>
                <a:cubicBezTo>
                  <a:pt x="0" y="20697"/>
                  <a:pt x="20697" y="0"/>
                  <a:pt x="46233" y="0"/>
                </a:cubicBezTo>
                <a:lnTo>
                  <a:pt x="1248310" y="0"/>
                </a:lnTo>
                <a:cubicBezTo>
                  <a:pt x="1273846" y="0"/>
                  <a:pt x="1294543" y="20697"/>
                  <a:pt x="1294543" y="46233"/>
                </a:cubicBezTo>
                <a:lnTo>
                  <a:pt x="1294543" y="785973"/>
                </a:lnTo>
              </a:path>
            </a:pathLst>
          </a:custGeom>
          <a:solidFill>
            <a:srgbClr val="FFF8B6"/>
          </a:solidFill>
          <a:ln>
            <a:noFill/>
          </a:ln>
        </p:spPr>
        <p:txBody>
          <a:bodyPr rtlCol="0" anchor="ctr"/>
          <a:lstStyle/>
          <a:p>
            <a:pPr algn="ctr"/>
            <a:endParaRPr sz="2000"/>
          </a:p>
        </p:txBody>
      </p:sp>
      <p:sp>
        <p:nvSpPr>
          <p:cNvPr id="15" name="Rounded Rectangle 14"/>
          <p:cNvSpPr/>
          <p:nvPr/>
        </p:nvSpPr>
        <p:spPr>
          <a:xfrm>
            <a:off x="3439484" y="3436437"/>
            <a:ext cx="1927837" cy="1086537"/>
          </a:xfrm>
          <a:custGeom>
            <a:avLst/>
            <a:gdLst/>
            <a:ahLst/>
            <a:cxnLst/>
            <a:rect l="0" t="0" r="0" b="0"/>
            <a:pathLst>
              <a:path w="1294543" h="832206">
                <a:moveTo>
                  <a:pt x="0" y="92467"/>
                </a:moveTo>
                <a:lnTo>
                  <a:pt x="0" y="46233"/>
                </a:lnTo>
                <a:cubicBezTo>
                  <a:pt x="0" y="20699"/>
                  <a:pt x="20699" y="0"/>
                  <a:pt x="46233" y="0"/>
                </a:cubicBezTo>
                <a:lnTo>
                  <a:pt x="92467" y="0"/>
                </a:lnTo>
                <a:moveTo>
                  <a:pt x="1294543" y="92467"/>
                </a:moveTo>
                <a:lnTo>
                  <a:pt x="1294543" y="739739"/>
                </a:lnTo>
                <a:moveTo>
                  <a:pt x="0" y="739739"/>
                </a:moveTo>
                <a:lnTo>
                  <a:pt x="0" y="92467"/>
                </a:lnTo>
                <a:moveTo>
                  <a:pt x="92467" y="0"/>
                </a:moveTo>
                <a:lnTo>
                  <a:pt x="1202076" y="0"/>
                </a:lnTo>
                <a:moveTo>
                  <a:pt x="0" y="739739"/>
                </a:moveTo>
                <a:lnTo>
                  <a:pt x="0" y="785973"/>
                </a:lnTo>
                <a:cubicBezTo>
                  <a:pt x="0" y="811507"/>
                  <a:pt x="20699" y="832206"/>
                  <a:pt x="46233" y="832206"/>
                </a:cubicBezTo>
                <a:lnTo>
                  <a:pt x="92467" y="832206"/>
                </a:lnTo>
                <a:moveTo>
                  <a:pt x="1294543" y="92467"/>
                </a:moveTo>
                <a:lnTo>
                  <a:pt x="1294543" y="46233"/>
                </a:lnTo>
                <a:cubicBezTo>
                  <a:pt x="1294543" y="20699"/>
                  <a:pt x="1273844" y="0"/>
                  <a:pt x="1248310" y="0"/>
                </a:cubicBezTo>
                <a:lnTo>
                  <a:pt x="1202076" y="0"/>
                </a:lnTo>
                <a:moveTo>
                  <a:pt x="1202076" y="832206"/>
                </a:moveTo>
                <a:lnTo>
                  <a:pt x="92467" y="832206"/>
                </a:lnTo>
                <a:moveTo>
                  <a:pt x="1294543" y="739739"/>
                </a:moveTo>
                <a:lnTo>
                  <a:pt x="1294543" y="785973"/>
                </a:lnTo>
                <a:cubicBezTo>
                  <a:pt x="1294543" y="811507"/>
                  <a:pt x="1273844" y="832206"/>
                  <a:pt x="1248310" y="832206"/>
                </a:cubicBezTo>
                <a:lnTo>
                  <a:pt x="1202076" y="832206"/>
                </a:lnTo>
              </a:path>
            </a:pathLst>
          </a:custGeom>
          <a:noFill/>
          <a:ln w="11558">
            <a:solidFill>
              <a:srgbClr val="FFFFFF"/>
            </a:solidFill>
          </a:ln>
        </p:spPr>
        <p:txBody>
          <a:bodyPr rtlCol="0" anchor="ctr"/>
          <a:lstStyle/>
          <a:p>
            <a:pPr algn="ctr"/>
            <a:endParaRPr sz="2000"/>
          </a:p>
        </p:txBody>
      </p:sp>
      <p:sp>
        <p:nvSpPr>
          <p:cNvPr id="16" name="Rounded Rectangle 15"/>
          <p:cNvSpPr/>
          <p:nvPr/>
        </p:nvSpPr>
        <p:spPr>
          <a:xfrm>
            <a:off x="3439484" y="4643702"/>
            <a:ext cx="1927837" cy="1086537"/>
          </a:xfrm>
          <a:custGeom>
            <a:avLst/>
            <a:gdLst/>
            <a:ahLst/>
            <a:cxnLst/>
            <a:rect l="0" t="0" r="0" b="0"/>
            <a:pathLst>
              <a:path w="1294543" h="832206">
                <a:moveTo>
                  <a:pt x="1294543" y="785973"/>
                </a:moveTo>
                <a:cubicBezTo>
                  <a:pt x="1294543" y="811509"/>
                  <a:pt x="1273846" y="832206"/>
                  <a:pt x="1248310" y="832206"/>
                </a:cubicBezTo>
                <a:lnTo>
                  <a:pt x="1202076" y="832206"/>
                </a:lnTo>
                <a:lnTo>
                  <a:pt x="46233" y="832206"/>
                </a:lnTo>
                <a:cubicBezTo>
                  <a:pt x="20697" y="832206"/>
                  <a:pt x="0" y="811509"/>
                  <a:pt x="0" y="785973"/>
                </a:cubicBezTo>
                <a:lnTo>
                  <a:pt x="0" y="46233"/>
                </a:lnTo>
                <a:cubicBezTo>
                  <a:pt x="0" y="20697"/>
                  <a:pt x="20697" y="0"/>
                  <a:pt x="46233" y="0"/>
                </a:cubicBezTo>
                <a:lnTo>
                  <a:pt x="1248310" y="0"/>
                </a:lnTo>
                <a:cubicBezTo>
                  <a:pt x="1273846" y="0"/>
                  <a:pt x="1294543" y="20697"/>
                  <a:pt x="1294543" y="46233"/>
                </a:cubicBezTo>
                <a:lnTo>
                  <a:pt x="1294543" y="785973"/>
                </a:lnTo>
              </a:path>
            </a:pathLst>
          </a:custGeom>
          <a:solidFill>
            <a:srgbClr val="FFF8B6"/>
          </a:solidFill>
          <a:ln>
            <a:noFill/>
          </a:ln>
        </p:spPr>
        <p:txBody>
          <a:bodyPr rtlCol="0" anchor="ctr"/>
          <a:lstStyle/>
          <a:p>
            <a:pPr algn="ctr"/>
            <a:endParaRPr sz="2000"/>
          </a:p>
        </p:txBody>
      </p:sp>
      <p:sp>
        <p:nvSpPr>
          <p:cNvPr id="17" name="Rounded Rectangle 16"/>
          <p:cNvSpPr/>
          <p:nvPr/>
        </p:nvSpPr>
        <p:spPr>
          <a:xfrm>
            <a:off x="3439484" y="4643702"/>
            <a:ext cx="1927837" cy="1086537"/>
          </a:xfrm>
          <a:custGeom>
            <a:avLst/>
            <a:gdLst/>
            <a:ahLst/>
            <a:cxnLst/>
            <a:rect l="0" t="0" r="0" b="0"/>
            <a:pathLst>
              <a:path w="1294543" h="832206">
                <a:moveTo>
                  <a:pt x="0" y="92467"/>
                </a:moveTo>
                <a:lnTo>
                  <a:pt x="0" y="46233"/>
                </a:lnTo>
                <a:cubicBezTo>
                  <a:pt x="0" y="20699"/>
                  <a:pt x="20699" y="0"/>
                  <a:pt x="46233" y="0"/>
                </a:cubicBezTo>
                <a:lnTo>
                  <a:pt x="92467" y="0"/>
                </a:lnTo>
                <a:moveTo>
                  <a:pt x="1294543" y="92467"/>
                </a:moveTo>
                <a:lnTo>
                  <a:pt x="1294543" y="739739"/>
                </a:lnTo>
                <a:moveTo>
                  <a:pt x="0" y="739739"/>
                </a:moveTo>
                <a:lnTo>
                  <a:pt x="0" y="92467"/>
                </a:lnTo>
                <a:moveTo>
                  <a:pt x="92467" y="0"/>
                </a:moveTo>
                <a:lnTo>
                  <a:pt x="1202076" y="0"/>
                </a:lnTo>
                <a:moveTo>
                  <a:pt x="0" y="739739"/>
                </a:moveTo>
                <a:lnTo>
                  <a:pt x="0" y="785972"/>
                </a:lnTo>
                <a:cubicBezTo>
                  <a:pt x="0" y="811506"/>
                  <a:pt x="20699" y="832206"/>
                  <a:pt x="46233" y="832206"/>
                </a:cubicBezTo>
                <a:lnTo>
                  <a:pt x="92467" y="832206"/>
                </a:lnTo>
                <a:moveTo>
                  <a:pt x="1294543" y="92467"/>
                </a:moveTo>
                <a:lnTo>
                  <a:pt x="1294543" y="46233"/>
                </a:lnTo>
                <a:cubicBezTo>
                  <a:pt x="1294543" y="20699"/>
                  <a:pt x="1273844" y="0"/>
                  <a:pt x="1248310" y="0"/>
                </a:cubicBezTo>
                <a:lnTo>
                  <a:pt x="1202076" y="0"/>
                </a:lnTo>
                <a:moveTo>
                  <a:pt x="1202076" y="832206"/>
                </a:moveTo>
                <a:lnTo>
                  <a:pt x="92467" y="832206"/>
                </a:lnTo>
                <a:moveTo>
                  <a:pt x="1294543" y="739739"/>
                </a:moveTo>
                <a:lnTo>
                  <a:pt x="1294543" y="785972"/>
                </a:lnTo>
                <a:cubicBezTo>
                  <a:pt x="1294543" y="811506"/>
                  <a:pt x="1273844" y="832206"/>
                  <a:pt x="1248310" y="832206"/>
                </a:cubicBezTo>
                <a:lnTo>
                  <a:pt x="1202076" y="832206"/>
                </a:lnTo>
              </a:path>
            </a:pathLst>
          </a:custGeom>
          <a:noFill/>
          <a:ln w="11558">
            <a:solidFill>
              <a:srgbClr val="FFFFFF"/>
            </a:solidFill>
          </a:ln>
        </p:spPr>
        <p:txBody>
          <a:bodyPr rtlCol="0" anchor="ctr"/>
          <a:lstStyle/>
          <a:p>
            <a:pPr algn="ctr"/>
            <a:endParaRPr sz="2000"/>
          </a:p>
        </p:txBody>
      </p:sp>
      <p:sp>
        <p:nvSpPr>
          <p:cNvPr id="18" name="Rounded Rectangle 17"/>
          <p:cNvSpPr/>
          <p:nvPr/>
        </p:nvSpPr>
        <p:spPr>
          <a:xfrm>
            <a:off x="5505026" y="1625542"/>
            <a:ext cx="1927837" cy="482905"/>
          </a:xfrm>
          <a:custGeom>
            <a:avLst/>
            <a:gdLst/>
            <a:ahLst/>
            <a:cxnLst/>
            <a:rect l="0" t="0" r="0" b="0"/>
            <a:pathLst>
              <a:path w="1294543" h="369869">
                <a:moveTo>
                  <a:pt x="1294543" y="323635"/>
                </a:moveTo>
                <a:cubicBezTo>
                  <a:pt x="1294543" y="349172"/>
                  <a:pt x="1273846" y="369869"/>
                  <a:pt x="1248310" y="369869"/>
                </a:cubicBezTo>
                <a:lnTo>
                  <a:pt x="1202076" y="369869"/>
                </a:lnTo>
                <a:lnTo>
                  <a:pt x="46233" y="369869"/>
                </a:lnTo>
                <a:cubicBezTo>
                  <a:pt x="20697" y="369869"/>
                  <a:pt x="0" y="349172"/>
                  <a:pt x="0" y="323635"/>
                </a:cubicBezTo>
                <a:lnTo>
                  <a:pt x="0" y="46233"/>
                </a:lnTo>
                <a:cubicBezTo>
                  <a:pt x="0" y="20697"/>
                  <a:pt x="20697" y="0"/>
                  <a:pt x="46233" y="0"/>
                </a:cubicBezTo>
                <a:lnTo>
                  <a:pt x="1248310" y="0"/>
                </a:lnTo>
                <a:cubicBezTo>
                  <a:pt x="1273846" y="0"/>
                  <a:pt x="1294543" y="20697"/>
                  <a:pt x="1294543" y="46233"/>
                </a:cubicBezTo>
                <a:lnTo>
                  <a:pt x="1294543" y="323635"/>
                </a:lnTo>
              </a:path>
            </a:pathLst>
          </a:custGeom>
          <a:solidFill>
            <a:srgbClr val="FFE4CB"/>
          </a:solidFill>
          <a:ln>
            <a:noFill/>
          </a:ln>
        </p:spPr>
        <p:txBody>
          <a:bodyPr rtlCol="0" anchor="ctr"/>
          <a:lstStyle/>
          <a:p>
            <a:pPr algn="ctr"/>
            <a:endParaRPr sz="2000"/>
          </a:p>
        </p:txBody>
      </p:sp>
      <p:sp>
        <p:nvSpPr>
          <p:cNvPr id="19" name="Rounded Rectangle 18"/>
          <p:cNvSpPr/>
          <p:nvPr/>
        </p:nvSpPr>
        <p:spPr>
          <a:xfrm>
            <a:off x="5505026" y="1625542"/>
            <a:ext cx="1927837" cy="482905"/>
          </a:xfrm>
          <a:custGeom>
            <a:avLst/>
            <a:gdLst/>
            <a:ahLst/>
            <a:cxnLst/>
            <a:rect l="0" t="0" r="0" b="0"/>
            <a:pathLst>
              <a:path w="1294543" h="369869">
                <a:moveTo>
                  <a:pt x="0" y="92467"/>
                </a:moveTo>
                <a:lnTo>
                  <a:pt x="0" y="46233"/>
                </a:lnTo>
                <a:cubicBezTo>
                  <a:pt x="0" y="20699"/>
                  <a:pt x="20699" y="0"/>
                  <a:pt x="46233" y="0"/>
                </a:cubicBezTo>
                <a:lnTo>
                  <a:pt x="92467" y="0"/>
                </a:lnTo>
                <a:moveTo>
                  <a:pt x="1294543" y="92467"/>
                </a:moveTo>
                <a:lnTo>
                  <a:pt x="1294543" y="277402"/>
                </a:lnTo>
                <a:moveTo>
                  <a:pt x="0" y="277402"/>
                </a:moveTo>
                <a:lnTo>
                  <a:pt x="0" y="92467"/>
                </a:lnTo>
                <a:moveTo>
                  <a:pt x="92467" y="0"/>
                </a:moveTo>
                <a:lnTo>
                  <a:pt x="1202076" y="0"/>
                </a:lnTo>
                <a:moveTo>
                  <a:pt x="0" y="277402"/>
                </a:moveTo>
                <a:lnTo>
                  <a:pt x="0" y="323635"/>
                </a:lnTo>
                <a:cubicBezTo>
                  <a:pt x="0" y="349170"/>
                  <a:pt x="20699" y="369869"/>
                  <a:pt x="46233" y="369869"/>
                </a:cubicBezTo>
                <a:lnTo>
                  <a:pt x="92467" y="369869"/>
                </a:lnTo>
                <a:moveTo>
                  <a:pt x="1294543" y="92467"/>
                </a:moveTo>
                <a:lnTo>
                  <a:pt x="1294543" y="46233"/>
                </a:lnTo>
                <a:cubicBezTo>
                  <a:pt x="1294543" y="20699"/>
                  <a:pt x="1273844" y="0"/>
                  <a:pt x="1248310" y="0"/>
                </a:cubicBezTo>
                <a:lnTo>
                  <a:pt x="1202076" y="0"/>
                </a:lnTo>
                <a:moveTo>
                  <a:pt x="1202076" y="369869"/>
                </a:moveTo>
                <a:lnTo>
                  <a:pt x="92467" y="369869"/>
                </a:lnTo>
                <a:moveTo>
                  <a:pt x="1294543" y="277402"/>
                </a:moveTo>
                <a:lnTo>
                  <a:pt x="1294543" y="323635"/>
                </a:lnTo>
                <a:cubicBezTo>
                  <a:pt x="1294543" y="349170"/>
                  <a:pt x="1273844" y="369869"/>
                  <a:pt x="1248310" y="369869"/>
                </a:cubicBezTo>
                <a:lnTo>
                  <a:pt x="1202076" y="369869"/>
                </a:lnTo>
              </a:path>
            </a:pathLst>
          </a:custGeom>
          <a:noFill/>
          <a:ln w="11558">
            <a:solidFill>
              <a:srgbClr val="FFFFFF"/>
            </a:solidFill>
          </a:ln>
        </p:spPr>
        <p:txBody>
          <a:bodyPr rtlCol="0" anchor="ctr"/>
          <a:lstStyle/>
          <a:p>
            <a:pPr algn="ctr"/>
            <a:endParaRPr sz="2000"/>
          </a:p>
        </p:txBody>
      </p:sp>
      <p:sp>
        <p:nvSpPr>
          <p:cNvPr id="20" name="Rounded Rectangle 19"/>
          <p:cNvSpPr/>
          <p:nvPr/>
        </p:nvSpPr>
        <p:spPr>
          <a:xfrm>
            <a:off x="5505026" y="2229173"/>
            <a:ext cx="1927837" cy="1086537"/>
          </a:xfrm>
          <a:custGeom>
            <a:avLst/>
            <a:gdLst/>
            <a:ahLst/>
            <a:cxnLst/>
            <a:rect l="0" t="0" r="0" b="0"/>
            <a:pathLst>
              <a:path w="1294543" h="832206">
                <a:moveTo>
                  <a:pt x="1294543" y="785973"/>
                </a:moveTo>
                <a:cubicBezTo>
                  <a:pt x="1294543" y="811509"/>
                  <a:pt x="1273846" y="832206"/>
                  <a:pt x="1248310" y="832206"/>
                </a:cubicBezTo>
                <a:lnTo>
                  <a:pt x="1202076" y="832206"/>
                </a:lnTo>
                <a:lnTo>
                  <a:pt x="46233" y="832206"/>
                </a:lnTo>
                <a:cubicBezTo>
                  <a:pt x="20697" y="832206"/>
                  <a:pt x="0" y="811509"/>
                  <a:pt x="0" y="785973"/>
                </a:cubicBezTo>
                <a:lnTo>
                  <a:pt x="0" y="46233"/>
                </a:lnTo>
                <a:cubicBezTo>
                  <a:pt x="0" y="20697"/>
                  <a:pt x="20697" y="0"/>
                  <a:pt x="46233" y="0"/>
                </a:cubicBezTo>
                <a:lnTo>
                  <a:pt x="1248310" y="0"/>
                </a:lnTo>
                <a:cubicBezTo>
                  <a:pt x="1273846" y="0"/>
                  <a:pt x="1294543" y="20697"/>
                  <a:pt x="1294543" y="46233"/>
                </a:cubicBezTo>
                <a:lnTo>
                  <a:pt x="1294543" y="785973"/>
                </a:lnTo>
              </a:path>
            </a:pathLst>
          </a:custGeom>
          <a:solidFill>
            <a:srgbClr val="FFE4CB"/>
          </a:solidFill>
          <a:ln>
            <a:noFill/>
          </a:ln>
        </p:spPr>
        <p:txBody>
          <a:bodyPr rtlCol="0" anchor="ctr"/>
          <a:lstStyle/>
          <a:p>
            <a:pPr algn="ctr"/>
            <a:endParaRPr sz="2000"/>
          </a:p>
        </p:txBody>
      </p:sp>
      <p:sp>
        <p:nvSpPr>
          <p:cNvPr id="21" name="Rounded Rectangle 20"/>
          <p:cNvSpPr/>
          <p:nvPr/>
        </p:nvSpPr>
        <p:spPr>
          <a:xfrm>
            <a:off x="5505026" y="2229173"/>
            <a:ext cx="1927837" cy="1086537"/>
          </a:xfrm>
          <a:custGeom>
            <a:avLst/>
            <a:gdLst/>
            <a:ahLst/>
            <a:cxnLst/>
            <a:rect l="0" t="0" r="0" b="0"/>
            <a:pathLst>
              <a:path w="1294543" h="832206">
                <a:moveTo>
                  <a:pt x="0" y="92467"/>
                </a:moveTo>
                <a:lnTo>
                  <a:pt x="0" y="46233"/>
                </a:lnTo>
                <a:cubicBezTo>
                  <a:pt x="0" y="20699"/>
                  <a:pt x="20699" y="0"/>
                  <a:pt x="46233" y="0"/>
                </a:cubicBezTo>
                <a:lnTo>
                  <a:pt x="92467" y="0"/>
                </a:lnTo>
                <a:moveTo>
                  <a:pt x="1294543" y="92467"/>
                </a:moveTo>
                <a:lnTo>
                  <a:pt x="1294543" y="739739"/>
                </a:lnTo>
                <a:moveTo>
                  <a:pt x="0" y="739739"/>
                </a:moveTo>
                <a:lnTo>
                  <a:pt x="0" y="92467"/>
                </a:lnTo>
                <a:moveTo>
                  <a:pt x="92467" y="0"/>
                </a:moveTo>
                <a:lnTo>
                  <a:pt x="1202076" y="0"/>
                </a:lnTo>
                <a:moveTo>
                  <a:pt x="0" y="739739"/>
                </a:moveTo>
                <a:lnTo>
                  <a:pt x="0" y="785972"/>
                </a:lnTo>
                <a:cubicBezTo>
                  <a:pt x="0" y="811507"/>
                  <a:pt x="20699" y="832206"/>
                  <a:pt x="46233" y="832206"/>
                </a:cubicBezTo>
                <a:lnTo>
                  <a:pt x="92467" y="832206"/>
                </a:lnTo>
                <a:moveTo>
                  <a:pt x="1294543" y="92467"/>
                </a:moveTo>
                <a:lnTo>
                  <a:pt x="1294543" y="46233"/>
                </a:lnTo>
                <a:cubicBezTo>
                  <a:pt x="1294543" y="20699"/>
                  <a:pt x="1273844" y="0"/>
                  <a:pt x="1248310" y="0"/>
                </a:cubicBezTo>
                <a:lnTo>
                  <a:pt x="1202076" y="0"/>
                </a:lnTo>
                <a:moveTo>
                  <a:pt x="1202076" y="832206"/>
                </a:moveTo>
                <a:lnTo>
                  <a:pt x="92467" y="832206"/>
                </a:lnTo>
                <a:moveTo>
                  <a:pt x="1294543" y="739739"/>
                </a:moveTo>
                <a:lnTo>
                  <a:pt x="1294543" y="785972"/>
                </a:lnTo>
                <a:cubicBezTo>
                  <a:pt x="1294543" y="811507"/>
                  <a:pt x="1273844" y="832206"/>
                  <a:pt x="1248310" y="832206"/>
                </a:cubicBezTo>
                <a:lnTo>
                  <a:pt x="1202076" y="832206"/>
                </a:lnTo>
              </a:path>
            </a:pathLst>
          </a:custGeom>
          <a:noFill/>
          <a:ln w="11558">
            <a:solidFill>
              <a:srgbClr val="FFFFFF"/>
            </a:solidFill>
          </a:ln>
        </p:spPr>
        <p:txBody>
          <a:bodyPr rtlCol="0" anchor="ctr"/>
          <a:lstStyle/>
          <a:p>
            <a:pPr algn="ctr"/>
            <a:endParaRPr sz="2000"/>
          </a:p>
        </p:txBody>
      </p:sp>
      <p:sp>
        <p:nvSpPr>
          <p:cNvPr id="22" name="Rounded Rectangle 21"/>
          <p:cNvSpPr/>
          <p:nvPr/>
        </p:nvSpPr>
        <p:spPr>
          <a:xfrm>
            <a:off x="5505026" y="3436437"/>
            <a:ext cx="1927837" cy="1086537"/>
          </a:xfrm>
          <a:custGeom>
            <a:avLst/>
            <a:gdLst/>
            <a:ahLst/>
            <a:cxnLst/>
            <a:rect l="0" t="0" r="0" b="0"/>
            <a:pathLst>
              <a:path w="1294543" h="832206">
                <a:moveTo>
                  <a:pt x="1294543" y="785973"/>
                </a:moveTo>
                <a:cubicBezTo>
                  <a:pt x="1294543" y="811509"/>
                  <a:pt x="1273846" y="832206"/>
                  <a:pt x="1248310" y="832206"/>
                </a:cubicBezTo>
                <a:lnTo>
                  <a:pt x="1202076" y="832206"/>
                </a:lnTo>
                <a:lnTo>
                  <a:pt x="46233" y="832206"/>
                </a:lnTo>
                <a:cubicBezTo>
                  <a:pt x="20697" y="832206"/>
                  <a:pt x="0" y="811509"/>
                  <a:pt x="0" y="785973"/>
                </a:cubicBezTo>
                <a:lnTo>
                  <a:pt x="0" y="46233"/>
                </a:lnTo>
                <a:cubicBezTo>
                  <a:pt x="0" y="20697"/>
                  <a:pt x="20697" y="0"/>
                  <a:pt x="46233" y="0"/>
                </a:cubicBezTo>
                <a:lnTo>
                  <a:pt x="1248310" y="0"/>
                </a:lnTo>
                <a:cubicBezTo>
                  <a:pt x="1273846" y="0"/>
                  <a:pt x="1294543" y="20697"/>
                  <a:pt x="1294543" y="46233"/>
                </a:cubicBezTo>
                <a:lnTo>
                  <a:pt x="1294543" y="785973"/>
                </a:lnTo>
              </a:path>
            </a:pathLst>
          </a:custGeom>
          <a:solidFill>
            <a:srgbClr val="FFE4CB"/>
          </a:solidFill>
          <a:ln>
            <a:noFill/>
          </a:ln>
        </p:spPr>
        <p:txBody>
          <a:bodyPr rtlCol="0" anchor="ctr"/>
          <a:lstStyle/>
          <a:p>
            <a:pPr algn="ctr"/>
            <a:endParaRPr sz="2000"/>
          </a:p>
        </p:txBody>
      </p:sp>
      <p:sp>
        <p:nvSpPr>
          <p:cNvPr id="23" name="Rounded Rectangle 22"/>
          <p:cNvSpPr/>
          <p:nvPr/>
        </p:nvSpPr>
        <p:spPr>
          <a:xfrm>
            <a:off x="5505026" y="3436437"/>
            <a:ext cx="1927837" cy="1086537"/>
          </a:xfrm>
          <a:custGeom>
            <a:avLst/>
            <a:gdLst/>
            <a:ahLst/>
            <a:cxnLst/>
            <a:rect l="0" t="0" r="0" b="0"/>
            <a:pathLst>
              <a:path w="1294543" h="832206">
                <a:moveTo>
                  <a:pt x="0" y="92467"/>
                </a:moveTo>
                <a:lnTo>
                  <a:pt x="0" y="46233"/>
                </a:lnTo>
                <a:cubicBezTo>
                  <a:pt x="0" y="20699"/>
                  <a:pt x="20699" y="0"/>
                  <a:pt x="46233" y="0"/>
                </a:cubicBezTo>
                <a:lnTo>
                  <a:pt x="92467" y="0"/>
                </a:lnTo>
                <a:moveTo>
                  <a:pt x="1294543" y="92467"/>
                </a:moveTo>
                <a:lnTo>
                  <a:pt x="1294543" y="739739"/>
                </a:lnTo>
                <a:moveTo>
                  <a:pt x="0" y="739739"/>
                </a:moveTo>
                <a:lnTo>
                  <a:pt x="0" y="92467"/>
                </a:lnTo>
                <a:moveTo>
                  <a:pt x="92467" y="0"/>
                </a:moveTo>
                <a:lnTo>
                  <a:pt x="1202076" y="0"/>
                </a:lnTo>
                <a:moveTo>
                  <a:pt x="0" y="739739"/>
                </a:moveTo>
                <a:lnTo>
                  <a:pt x="0" y="785973"/>
                </a:lnTo>
                <a:cubicBezTo>
                  <a:pt x="0" y="811507"/>
                  <a:pt x="20699" y="832206"/>
                  <a:pt x="46233" y="832206"/>
                </a:cubicBezTo>
                <a:lnTo>
                  <a:pt x="92467" y="832206"/>
                </a:lnTo>
                <a:moveTo>
                  <a:pt x="1294543" y="92467"/>
                </a:moveTo>
                <a:lnTo>
                  <a:pt x="1294543" y="46233"/>
                </a:lnTo>
                <a:cubicBezTo>
                  <a:pt x="1294543" y="20699"/>
                  <a:pt x="1273844" y="0"/>
                  <a:pt x="1248310" y="0"/>
                </a:cubicBezTo>
                <a:lnTo>
                  <a:pt x="1202076" y="0"/>
                </a:lnTo>
                <a:moveTo>
                  <a:pt x="1202076" y="832206"/>
                </a:moveTo>
                <a:lnTo>
                  <a:pt x="92467" y="832206"/>
                </a:lnTo>
                <a:moveTo>
                  <a:pt x="1294543" y="739739"/>
                </a:moveTo>
                <a:lnTo>
                  <a:pt x="1294543" y="785973"/>
                </a:lnTo>
                <a:cubicBezTo>
                  <a:pt x="1294543" y="811507"/>
                  <a:pt x="1273844" y="832206"/>
                  <a:pt x="1248310" y="832206"/>
                </a:cubicBezTo>
                <a:lnTo>
                  <a:pt x="1202076" y="832206"/>
                </a:lnTo>
              </a:path>
            </a:pathLst>
          </a:custGeom>
          <a:noFill/>
          <a:ln w="11558">
            <a:solidFill>
              <a:srgbClr val="FFFFFF"/>
            </a:solidFill>
          </a:ln>
        </p:spPr>
        <p:txBody>
          <a:bodyPr rtlCol="0" anchor="ctr"/>
          <a:lstStyle/>
          <a:p>
            <a:pPr algn="ctr"/>
            <a:endParaRPr sz="2000"/>
          </a:p>
        </p:txBody>
      </p:sp>
      <p:sp>
        <p:nvSpPr>
          <p:cNvPr id="24" name="Rounded Rectangle 23"/>
          <p:cNvSpPr/>
          <p:nvPr/>
        </p:nvSpPr>
        <p:spPr>
          <a:xfrm>
            <a:off x="5505026" y="4643702"/>
            <a:ext cx="1927837" cy="1086537"/>
          </a:xfrm>
          <a:custGeom>
            <a:avLst/>
            <a:gdLst/>
            <a:ahLst/>
            <a:cxnLst/>
            <a:rect l="0" t="0" r="0" b="0"/>
            <a:pathLst>
              <a:path w="1294543" h="832206">
                <a:moveTo>
                  <a:pt x="1294543" y="785973"/>
                </a:moveTo>
                <a:cubicBezTo>
                  <a:pt x="1294543" y="811509"/>
                  <a:pt x="1273846" y="832206"/>
                  <a:pt x="1248310" y="832206"/>
                </a:cubicBezTo>
                <a:lnTo>
                  <a:pt x="1202076" y="832206"/>
                </a:lnTo>
                <a:lnTo>
                  <a:pt x="46233" y="832206"/>
                </a:lnTo>
                <a:cubicBezTo>
                  <a:pt x="20697" y="832206"/>
                  <a:pt x="0" y="811509"/>
                  <a:pt x="0" y="785973"/>
                </a:cubicBezTo>
                <a:lnTo>
                  <a:pt x="0" y="46233"/>
                </a:lnTo>
                <a:cubicBezTo>
                  <a:pt x="0" y="20697"/>
                  <a:pt x="20697" y="0"/>
                  <a:pt x="46233" y="0"/>
                </a:cubicBezTo>
                <a:lnTo>
                  <a:pt x="1248310" y="0"/>
                </a:lnTo>
                <a:cubicBezTo>
                  <a:pt x="1273846" y="0"/>
                  <a:pt x="1294543" y="20697"/>
                  <a:pt x="1294543" y="46233"/>
                </a:cubicBezTo>
                <a:lnTo>
                  <a:pt x="1294543" y="785973"/>
                </a:lnTo>
              </a:path>
            </a:pathLst>
          </a:custGeom>
          <a:solidFill>
            <a:srgbClr val="FFE4CB"/>
          </a:solidFill>
          <a:ln>
            <a:noFill/>
          </a:ln>
        </p:spPr>
        <p:txBody>
          <a:bodyPr rtlCol="0" anchor="ctr"/>
          <a:lstStyle/>
          <a:p>
            <a:pPr algn="ctr"/>
            <a:endParaRPr sz="2000"/>
          </a:p>
        </p:txBody>
      </p:sp>
      <p:sp>
        <p:nvSpPr>
          <p:cNvPr id="25" name="Rounded Rectangle 24"/>
          <p:cNvSpPr/>
          <p:nvPr/>
        </p:nvSpPr>
        <p:spPr>
          <a:xfrm>
            <a:off x="5505026" y="4643702"/>
            <a:ext cx="1927837" cy="1086537"/>
          </a:xfrm>
          <a:custGeom>
            <a:avLst/>
            <a:gdLst/>
            <a:ahLst/>
            <a:cxnLst/>
            <a:rect l="0" t="0" r="0" b="0"/>
            <a:pathLst>
              <a:path w="1294543" h="832206">
                <a:moveTo>
                  <a:pt x="0" y="92467"/>
                </a:moveTo>
                <a:lnTo>
                  <a:pt x="0" y="46233"/>
                </a:lnTo>
                <a:cubicBezTo>
                  <a:pt x="0" y="20699"/>
                  <a:pt x="20699" y="0"/>
                  <a:pt x="46233" y="0"/>
                </a:cubicBezTo>
                <a:lnTo>
                  <a:pt x="92467" y="0"/>
                </a:lnTo>
                <a:moveTo>
                  <a:pt x="1294543" y="92467"/>
                </a:moveTo>
                <a:lnTo>
                  <a:pt x="1294543" y="739739"/>
                </a:lnTo>
                <a:moveTo>
                  <a:pt x="0" y="739739"/>
                </a:moveTo>
                <a:lnTo>
                  <a:pt x="0" y="92467"/>
                </a:lnTo>
                <a:moveTo>
                  <a:pt x="92467" y="0"/>
                </a:moveTo>
                <a:lnTo>
                  <a:pt x="1202076" y="0"/>
                </a:lnTo>
                <a:moveTo>
                  <a:pt x="0" y="739739"/>
                </a:moveTo>
                <a:lnTo>
                  <a:pt x="0" y="785972"/>
                </a:lnTo>
                <a:cubicBezTo>
                  <a:pt x="0" y="811506"/>
                  <a:pt x="20699" y="832206"/>
                  <a:pt x="46233" y="832206"/>
                </a:cubicBezTo>
                <a:lnTo>
                  <a:pt x="92467" y="832206"/>
                </a:lnTo>
                <a:moveTo>
                  <a:pt x="1294543" y="92467"/>
                </a:moveTo>
                <a:lnTo>
                  <a:pt x="1294543" y="46233"/>
                </a:lnTo>
                <a:cubicBezTo>
                  <a:pt x="1294543" y="20699"/>
                  <a:pt x="1273844" y="0"/>
                  <a:pt x="1248310" y="0"/>
                </a:cubicBezTo>
                <a:lnTo>
                  <a:pt x="1202076" y="0"/>
                </a:lnTo>
                <a:moveTo>
                  <a:pt x="1202076" y="832206"/>
                </a:moveTo>
                <a:lnTo>
                  <a:pt x="92467" y="832206"/>
                </a:lnTo>
                <a:moveTo>
                  <a:pt x="1294543" y="739739"/>
                </a:moveTo>
                <a:lnTo>
                  <a:pt x="1294543" y="785972"/>
                </a:lnTo>
                <a:cubicBezTo>
                  <a:pt x="1294543" y="811506"/>
                  <a:pt x="1273844" y="832206"/>
                  <a:pt x="1248310" y="832206"/>
                </a:cubicBezTo>
                <a:lnTo>
                  <a:pt x="1202076" y="832206"/>
                </a:lnTo>
              </a:path>
            </a:pathLst>
          </a:custGeom>
          <a:noFill/>
          <a:ln w="11558">
            <a:solidFill>
              <a:srgbClr val="FFFFFF"/>
            </a:solidFill>
          </a:ln>
        </p:spPr>
        <p:txBody>
          <a:bodyPr rtlCol="0" anchor="ctr"/>
          <a:lstStyle/>
          <a:p>
            <a:pPr algn="ctr"/>
            <a:endParaRPr sz="2000"/>
          </a:p>
        </p:txBody>
      </p:sp>
      <p:sp>
        <p:nvSpPr>
          <p:cNvPr id="26" name="Rounded Rectangle 25"/>
          <p:cNvSpPr/>
          <p:nvPr/>
        </p:nvSpPr>
        <p:spPr>
          <a:xfrm>
            <a:off x="7570566" y="1625542"/>
            <a:ext cx="1927837" cy="482905"/>
          </a:xfrm>
          <a:custGeom>
            <a:avLst/>
            <a:gdLst/>
            <a:ahLst/>
            <a:cxnLst/>
            <a:rect l="0" t="0" r="0" b="0"/>
            <a:pathLst>
              <a:path w="1294543" h="369869">
                <a:moveTo>
                  <a:pt x="1294543" y="323635"/>
                </a:moveTo>
                <a:cubicBezTo>
                  <a:pt x="1294543" y="349172"/>
                  <a:pt x="1273846" y="369869"/>
                  <a:pt x="1248310" y="369869"/>
                </a:cubicBezTo>
                <a:lnTo>
                  <a:pt x="1202076" y="369869"/>
                </a:lnTo>
                <a:lnTo>
                  <a:pt x="46233" y="369869"/>
                </a:lnTo>
                <a:cubicBezTo>
                  <a:pt x="20697" y="369869"/>
                  <a:pt x="0" y="349172"/>
                  <a:pt x="0" y="323635"/>
                </a:cubicBezTo>
                <a:lnTo>
                  <a:pt x="0" y="46233"/>
                </a:lnTo>
                <a:cubicBezTo>
                  <a:pt x="0" y="20697"/>
                  <a:pt x="20697" y="0"/>
                  <a:pt x="46233" y="0"/>
                </a:cubicBezTo>
                <a:lnTo>
                  <a:pt x="1248310" y="0"/>
                </a:lnTo>
                <a:cubicBezTo>
                  <a:pt x="1273846" y="0"/>
                  <a:pt x="1294543" y="20697"/>
                  <a:pt x="1294543" y="46233"/>
                </a:cubicBezTo>
                <a:lnTo>
                  <a:pt x="1294543" y="323635"/>
                </a:lnTo>
              </a:path>
            </a:pathLst>
          </a:custGeom>
          <a:solidFill>
            <a:srgbClr val="FFD9D8"/>
          </a:solidFill>
          <a:ln>
            <a:noFill/>
          </a:ln>
        </p:spPr>
        <p:txBody>
          <a:bodyPr rtlCol="0" anchor="ctr"/>
          <a:lstStyle/>
          <a:p>
            <a:pPr algn="ctr"/>
            <a:endParaRPr sz="2000"/>
          </a:p>
        </p:txBody>
      </p:sp>
      <p:sp>
        <p:nvSpPr>
          <p:cNvPr id="27" name="Rounded Rectangle 26"/>
          <p:cNvSpPr/>
          <p:nvPr/>
        </p:nvSpPr>
        <p:spPr>
          <a:xfrm>
            <a:off x="7570566" y="1625542"/>
            <a:ext cx="1927837" cy="482905"/>
          </a:xfrm>
          <a:custGeom>
            <a:avLst/>
            <a:gdLst/>
            <a:ahLst/>
            <a:cxnLst/>
            <a:rect l="0" t="0" r="0" b="0"/>
            <a:pathLst>
              <a:path w="1294543" h="369869">
                <a:moveTo>
                  <a:pt x="0" y="92467"/>
                </a:moveTo>
                <a:lnTo>
                  <a:pt x="0" y="46233"/>
                </a:lnTo>
                <a:cubicBezTo>
                  <a:pt x="0" y="20699"/>
                  <a:pt x="20699" y="0"/>
                  <a:pt x="46233" y="0"/>
                </a:cubicBezTo>
                <a:lnTo>
                  <a:pt x="92467" y="0"/>
                </a:lnTo>
                <a:moveTo>
                  <a:pt x="1294543" y="92467"/>
                </a:moveTo>
                <a:lnTo>
                  <a:pt x="1294543" y="277402"/>
                </a:lnTo>
                <a:moveTo>
                  <a:pt x="0" y="277402"/>
                </a:moveTo>
                <a:lnTo>
                  <a:pt x="0" y="92467"/>
                </a:lnTo>
                <a:moveTo>
                  <a:pt x="92467" y="0"/>
                </a:moveTo>
                <a:lnTo>
                  <a:pt x="1202076" y="0"/>
                </a:lnTo>
                <a:moveTo>
                  <a:pt x="0" y="277402"/>
                </a:moveTo>
                <a:lnTo>
                  <a:pt x="0" y="323635"/>
                </a:lnTo>
                <a:cubicBezTo>
                  <a:pt x="0" y="349170"/>
                  <a:pt x="20699" y="369869"/>
                  <a:pt x="46233" y="369869"/>
                </a:cubicBezTo>
                <a:lnTo>
                  <a:pt x="92467" y="369869"/>
                </a:lnTo>
                <a:moveTo>
                  <a:pt x="1294543" y="92467"/>
                </a:moveTo>
                <a:lnTo>
                  <a:pt x="1294543" y="46233"/>
                </a:lnTo>
                <a:cubicBezTo>
                  <a:pt x="1294543" y="20699"/>
                  <a:pt x="1273844" y="0"/>
                  <a:pt x="1248310" y="0"/>
                </a:cubicBezTo>
                <a:lnTo>
                  <a:pt x="1202076" y="0"/>
                </a:lnTo>
                <a:moveTo>
                  <a:pt x="1202076" y="369869"/>
                </a:moveTo>
                <a:lnTo>
                  <a:pt x="92467" y="369869"/>
                </a:lnTo>
                <a:moveTo>
                  <a:pt x="1294543" y="277402"/>
                </a:moveTo>
                <a:lnTo>
                  <a:pt x="1294543" y="323635"/>
                </a:lnTo>
                <a:cubicBezTo>
                  <a:pt x="1294543" y="349170"/>
                  <a:pt x="1273844" y="369869"/>
                  <a:pt x="1248310" y="369869"/>
                </a:cubicBezTo>
                <a:lnTo>
                  <a:pt x="1202076" y="369869"/>
                </a:lnTo>
              </a:path>
            </a:pathLst>
          </a:custGeom>
          <a:noFill/>
          <a:ln w="11558">
            <a:solidFill>
              <a:srgbClr val="FFFFFF"/>
            </a:solidFill>
          </a:ln>
        </p:spPr>
        <p:txBody>
          <a:bodyPr rtlCol="0" anchor="ctr"/>
          <a:lstStyle/>
          <a:p>
            <a:pPr algn="ctr"/>
            <a:endParaRPr sz="2000"/>
          </a:p>
        </p:txBody>
      </p:sp>
      <p:sp>
        <p:nvSpPr>
          <p:cNvPr id="28" name="Rounded Rectangle 27"/>
          <p:cNvSpPr/>
          <p:nvPr/>
        </p:nvSpPr>
        <p:spPr>
          <a:xfrm>
            <a:off x="7570566" y="2229173"/>
            <a:ext cx="1927837" cy="1086537"/>
          </a:xfrm>
          <a:custGeom>
            <a:avLst/>
            <a:gdLst/>
            <a:ahLst/>
            <a:cxnLst/>
            <a:rect l="0" t="0" r="0" b="0"/>
            <a:pathLst>
              <a:path w="1294543" h="832206">
                <a:moveTo>
                  <a:pt x="1294543" y="785973"/>
                </a:moveTo>
                <a:cubicBezTo>
                  <a:pt x="1294543" y="811509"/>
                  <a:pt x="1273846" y="832206"/>
                  <a:pt x="1248310" y="832206"/>
                </a:cubicBezTo>
                <a:lnTo>
                  <a:pt x="1202076" y="832206"/>
                </a:lnTo>
                <a:lnTo>
                  <a:pt x="46233" y="832206"/>
                </a:lnTo>
                <a:cubicBezTo>
                  <a:pt x="20697" y="832206"/>
                  <a:pt x="0" y="811509"/>
                  <a:pt x="0" y="785973"/>
                </a:cubicBezTo>
                <a:lnTo>
                  <a:pt x="0" y="46233"/>
                </a:lnTo>
                <a:cubicBezTo>
                  <a:pt x="0" y="20697"/>
                  <a:pt x="20697" y="0"/>
                  <a:pt x="46233" y="0"/>
                </a:cubicBezTo>
                <a:lnTo>
                  <a:pt x="1248310" y="0"/>
                </a:lnTo>
                <a:cubicBezTo>
                  <a:pt x="1273846" y="0"/>
                  <a:pt x="1294543" y="20697"/>
                  <a:pt x="1294543" y="46233"/>
                </a:cubicBezTo>
                <a:lnTo>
                  <a:pt x="1294543" y="785973"/>
                </a:lnTo>
              </a:path>
            </a:pathLst>
          </a:custGeom>
          <a:solidFill>
            <a:srgbClr val="FFD9D8"/>
          </a:solidFill>
          <a:ln>
            <a:noFill/>
          </a:ln>
        </p:spPr>
        <p:txBody>
          <a:bodyPr rtlCol="0" anchor="ctr"/>
          <a:lstStyle/>
          <a:p>
            <a:pPr algn="ctr"/>
            <a:endParaRPr sz="2000"/>
          </a:p>
        </p:txBody>
      </p:sp>
      <p:sp>
        <p:nvSpPr>
          <p:cNvPr id="29" name="Rounded Rectangle 28"/>
          <p:cNvSpPr/>
          <p:nvPr/>
        </p:nvSpPr>
        <p:spPr>
          <a:xfrm>
            <a:off x="7570566" y="2229173"/>
            <a:ext cx="1927837" cy="1086537"/>
          </a:xfrm>
          <a:custGeom>
            <a:avLst/>
            <a:gdLst/>
            <a:ahLst/>
            <a:cxnLst/>
            <a:rect l="0" t="0" r="0" b="0"/>
            <a:pathLst>
              <a:path w="1294543" h="832206">
                <a:moveTo>
                  <a:pt x="0" y="92467"/>
                </a:moveTo>
                <a:lnTo>
                  <a:pt x="0" y="46233"/>
                </a:lnTo>
                <a:cubicBezTo>
                  <a:pt x="0" y="20699"/>
                  <a:pt x="20699" y="0"/>
                  <a:pt x="46233" y="0"/>
                </a:cubicBezTo>
                <a:lnTo>
                  <a:pt x="92467" y="0"/>
                </a:lnTo>
                <a:moveTo>
                  <a:pt x="1294543" y="92467"/>
                </a:moveTo>
                <a:lnTo>
                  <a:pt x="1294543" y="739739"/>
                </a:lnTo>
                <a:moveTo>
                  <a:pt x="0" y="739739"/>
                </a:moveTo>
                <a:lnTo>
                  <a:pt x="0" y="92467"/>
                </a:lnTo>
                <a:moveTo>
                  <a:pt x="92467" y="0"/>
                </a:moveTo>
                <a:lnTo>
                  <a:pt x="1202076" y="0"/>
                </a:lnTo>
                <a:moveTo>
                  <a:pt x="0" y="739739"/>
                </a:moveTo>
                <a:lnTo>
                  <a:pt x="0" y="785972"/>
                </a:lnTo>
                <a:cubicBezTo>
                  <a:pt x="0" y="811507"/>
                  <a:pt x="20699" y="832206"/>
                  <a:pt x="46233" y="832206"/>
                </a:cubicBezTo>
                <a:lnTo>
                  <a:pt x="92467" y="832206"/>
                </a:lnTo>
                <a:moveTo>
                  <a:pt x="1294543" y="92467"/>
                </a:moveTo>
                <a:lnTo>
                  <a:pt x="1294543" y="46233"/>
                </a:lnTo>
                <a:cubicBezTo>
                  <a:pt x="1294543" y="20699"/>
                  <a:pt x="1273844" y="0"/>
                  <a:pt x="1248310" y="0"/>
                </a:cubicBezTo>
                <a:lnTo>
                  <a:pt x="1202076" y="0"/>
                </a:lnTo>
                <a:moveTo>
                  <a:pt x="1202076" y="832206"/>
                </a:moveTo>
                <a:lnTo>
                  <a:pt x="92467" y="832206"/>
                </a:lnTo>
                <a:moveTo>
                  <a:pt x="1294543" y="739739"/>
                </a:moveTo>
                <a:lnTo>
                  <a:pt x="1294543" y="785972"/>
                </a:lnTo>
                <a:cubicBezTo>
                  <a:pt x="1294543" y="811507"/>
                  <a:pt x="1273844" y="832206"/>
                  <a:pt x="1248310" y="832206"/>
                </a:cubicBezTo>
                <a:lnTo>
                  <a:pt x="1202076" y="832206"/>
                </a:lnTo>
              </a:path>
            </a:pathLst>
          </a:custGeom>
          <a:noFill/>
          <a:ln w="11558">
            <a:solidFill>
              <a:srgbClr val="FFFFFF"/>
            </a:solidFill>
          </a:ln>
        </p:spPr>
        <p:txBody>
          <a:bodyPr rtlCol="0" anchor="ctr"/>
          <a:lstStyle/>
          <a:p>
            <a:pPr algn="ctr"/>
            <a:endParaRPr sz="2000"/>
          </a:p>
        </p:txBody>
      </p:sp>
      <p:sp>
        <p:nvSpPr>
          <p:cNvPr id="30" name="Rounded Rectangle 29"/>
          <p:cNvSpPr/>
          <p:nvPr/>
        </p:nvSpPr>
        <p:spPr>
          <a:xfrm>
            <a:off x="7570566" y="3436437"/>
            <a:ext cx="1927837" cy="1086537"/>
          </a:xfrm>
          <a:custGeom>
            <a:avLst/>
            <a:gdLst/>
            <a:ahLst/>
            <a:cxnLst/>
            <a:rect l="0" t="0" r="0" b="0"/>
            <a:pathLst>
              <a:path w="1294543" h="832206">
                <a:moveTo>
                  <a:pt x="1294543" y="785973"/>
                </a:moveTo>
                <a:cubicBezTo>
                  <a:pt x="1294543" y="811509"/>
                  <a:pt x="1273846" y="832206"/>
                  <a:pt x="1248310" y="832206"/>
                </a:cubicBezTo>
                <a:lnTo>
                  <a:pt x="1202076" y="832206"/>
                </a:lnTo>
                <a:lnTo>
                  <a:pt x="46233" y="832206"/>
                </a:lnTo>
                <a:cubicBezTo>
                  <a:pt x="20697" y="832206"/>
                  <a:pt x="0" y="811509"/>
                  <a:pt x="0" y="785973"/>
                </a:cubicBezTo>
                <a:lnTo>
                  <a:pt x="0" y="46233"/>
                </a:lnTo>
                <a:cubicBezTo>
                  <a:pt x="0" y="20697"/>
                  <a:pt x="20697" y="0"/>
                  <a:pt x="46233" y="0"/>
                </a:cubicBezTo>
                <a:lnTo>
                  <a:pt x="1248310" y="0"/>
                </a:lnTo>
                <a:cubicBezTo>
                  <a:pt x="1273846" y="0"/>
                  <a:pt x="1294543" y="20697"/>
                  <a:pt x="1294543" y="46233"/>
                </a:cubicBezTo>
                <a:lnTo>
                  <a:pt x="1294543" y="785973"/>
                </a:lnTo>
              </a:path>
            </a:pathLst>
          </a:custGeom>
          <a:solidFill>
            <a:srgbClr val="FFD9D8"/>
          </a:solidFill>
          <a:ln>
            <a:noFill/>
          </a:ln>
        </p:spPr>
        <p:txBody>
          <a:bodyPr rtlCol="0" anchor="ctr"/>
          <a:lstStyle/>
          <a:p>
            <a:pPr algn="ctr"/>
            <a:endParaRPr sz="2000"/>
          </a:p>
        </p:txBody>
      </p:sp>
      <p:sp>
        <p:nvSpPr>
          <p:cNvPr id="31" name="Rounded Rectangle 30"/>
          <p:cNvSpPr/>
          <p:nvPr/>
        </p:nvSpPr>
        <p:spPr>
          <a:xfrm>
            <a:off x="7570566" y="3436437"/>
            <a:ext cx="1927837" cy="1086537"/>
          </a:xfrm>
          <a:custGeom>
            <a:avLst/>
            <a:gdLst/>
            <a:ahLst/>
            <a:cxnLst/>
            <a:rect l="0" t="0" r="0" b="0"/>
            <a:pathLst>
              <a:path w="1294543" h="832206">
                <a:moveTo>
                  <a:pt x="0" y="92467"/>
                </a:moveTo>
                <a:lnTo>
                  <a:pt x="0" y="46233"/>
                </a:lnTo>
                <a:cubicBezTo>
                  <a:pt x="0" y="20699"/>
                  <a:pt x="20699" y="0"/>
                  <a:pt x="46233" y="0"/>
                </a:cubicBezTo>
                <a:lnTo>
                  <a:pt x="92467" y="0"/>
                </a:lnTo>
                <a:moveTo>
                  <a:pt x="1294543" y="92467"/>
                </a:moveTo>
                <a:lnTo>
                  <a:pt x="1294543" y="739739"/>
                </a:lnTo>
                <a:moveTo>
                  <a:pt x="0" y="739739"/>
                </a:moveTo>
                <a:lnTo>
                  <a:pt x="0" y="92467"/>
                </a:lnTo>
                <a:moveTo>
                  <a:pt x="92467" y="0"/>
                </a:moveTo>
                <a:lnTo>
                  <a:pt x="1202076" y="0"/>
                </a:lnTo>
                <a:moveTo>
                  <a:pt x="0" y="739739"/>
                </a:moveTo>
                <a:lnTo>
                  <a:pt x="0" y="785973"/>
                </a:lnTo>
                <a:cubicBezTo>
                  <a:pt x="0" y="811507"/>
                  <a:pt x="20699" y="832206"/>
                  <a:pt x="46233" y="832206"/>
                </a:cubicBezTo>
                <a:lnTo>
                  <a:pt x="92467" y="832206"/>
                </a:lnTo>
                <a:moveTo>
                  <a:pt x="1294543" y="92467"/>
                </a:moveTo>
                <a:lnTo>
                  <a:pt x="1294543" y="46233"/>
                </a:lnTo>
                <a:cubicBezTo>
                  <a:pt x="1294543" y="20699"/>
                  <a:pt x="1273844" y="0"/>
                  <a:pt x="1248310" y="0"/>
                </a:cubicBezTo>
                <a:lnTo>
                  <a:pt x="1202076" y="0"/>
                </a:lnTo>
                <a:moveTo>
                  <a:pt x="1202076" y="832206"/>
                </a:moveTo>
                <a:lnTo>
                  <a:pt x="92467" y="832206"/>
                </a:lnTo>
                <a:moveTo>
                  <a:pt x="1294543" y="739739"/>
                </a:moveTo>
                <a:lnTo>
                  <a:pt x="1294543" y="785973"/>
                </a:lnTo>
                <a:cubicBezTo>
                  <a:pt x="1294543" y="811507"/>
                  <a:pt x="1273844" y="832206"/>
                  <a:pt x="1248310" y="832206"/>
                </a:cubicBezTo>
                <a:lnTo>
                  <a:pt x="1202076" y="832206"/>
                </a:lnTo>
              </a:path>
            </a:pathLst>
          </a:custGeom>
          <a:noFill/>
          <a:ln w="11558">
            <a:solidFill>
              <a:srgbClr val="FFFFFF"/>
            </a:solidFill>
          </a:ln>
        </p:spPr>
        <p:txBody>
          <a:bodyPr rtlCol="0" anchor="ctr"/>
          <a:lstStyle/>
          <a:p>
            <a:pPr algn="ctr"/>
            <a:endParaRPr sz="2000"/>
          </a:p>
        </p:txBody>
      </p:sp>
      <p:sp>
        <p:nvSpPr>
          <p:cNvPr id="32" name="Rounded Rectangle 31"/>
          <p:cNvSpPr/>
          <p:nvPr/>
        </p:nvSpPr>
        <p:spPr>
          <a:xfrm>
            <a:off x="7570566" y="4643702"/>
            <a:ext cx="1927837" cy="1086537"/>
          </a:xfrm>
          <a:custGeom>
            <a:avLst/>
            <a:gdLst/>
            <a:ahLst/>
            <a:cxnLst/>
            <a:rect l="0" t="0" r="0" b="0"/>
            <a:pathLst>
              <a:path w="1294543" h="832206">
                <a:moveTo>
                  <a:pt x="1294543" y="785973"/>
                </a:moveTo>
                <a:cubicBezTo>
                  <a:pt x="1294543" y="811509"/>
                  <a:pt x="1273846" y="832206"/>
                  <a:pt x="1248310" y="832206"/>
                </a:cubicBezTo>
                <a:lnTo>
                  <a:pt x="1202076" y="832206"/>
                </a:lnTo>
                <a:lnTo>
                  <a:pt x="46233" y="832206"/>
                </a:lnTo>
                <a:cubicBezTo>
                  <a:pt x="20697" y="832206"/>
                  <a:pt x="0" y="811509"/>
                  <a:pt x="0" y="785973"/>
                </a:cubicBezTo>
                <a:lnTo>
                  <a:pt x="0" y="46233"/>
                </a:lnTo>
                <a:cubicBezTo>
                  <a:pt x="0" y="20697"/>
                  <a:pt x="20697" y="0"/>
                  <a:pt x="46233" y="0"/>
                </a:cubicBezTo>
                <a:lnTo>
                  <a:pt x="1248310" y="0"/>
                </a:lnTo>
                <a:cubicBezTo>
                  <a:pt x="1273846" y="0"/>
                  <a:pt x="1294543" y="20697"/>
                  <a:pt x="1294543" y="46233"/>
                </a:cubicBezTo>
                <a:lnTo>
                  <a:pt x="1294543" y="785973"/>
                </a:lnTo>
              </a:path>
            </a:pathLst>
          </a:custGeom>
          <a:solidFill>
            <a:srgbClr val="FFD9D8"/>
          </a:solidFill>
          <a:ln>
            <a:noFill/>
          </a:ln>
        </p:spPr>
        <p:txBody>
          <a:bodyPr rtlCol="0" anchor="ctr"/>
          <a:lstStyle/>
          <a:p>
            <a:pPr algn="ctr"/>
            <a:endParaRPr sz="2000"/>
          </a:p>
        </p:txBody>
      </p:sp>
      <p:sp>
        <p:nvSpPr>
          <p:cNvPr id="33" name="Rounded Rectangle 32"/>
          <p:cNvSpPr/>
          <p:nvPr/>
        </p:nvSpPr>
        <p:spPr>
          <a:xfrm>
            <a:off x="7570566" y="4643702"/>
            <a:ext cx="1927837" cy="1086537"/>
          </a:xfrm>
          <a:custGeom>
            <a:avLst/>
            <a:gdLst/>
            <a:ahLst/>
            <a:cxnLst/>
            <a:rect l="0" t="0" r="0" b="0"/>
            <a:pathLst>
              <a:path w="1294543" h="832206">
                <a:moveTo>
                  <a:pt x="0" y="92467"/>
                </a:moveTo>
                <a:lnTo>
                  <a:pt x="0" y="46233"/>
                </a:lnTo>
                <a:cubicBezTo>
                  <a:pt x="0" y="20699"/>
                  <a:pt x="20699" y="0"/>
                  <a:pt x="46233" y="0"/>
                </a:cubicBezTo>
                <a:lnTo>
                  <a:pt x="92467" y="0"/>
                </a:lnTo>
                <a:moveTo>
                  <a:pt x="1294543" y="92467"/>
                </a:moveTo>
                <a:lnTo>
                  <a:pt x="1294543" y="739739"/>
                </a:lnTo>
                <a:moveTo>
                  <a:pt x="0" y="739739"/>
                </a:moveTo>
                <a:lnTo>
                  <a:pt x="0" y="92467"/>
                </a:lnTo>
                <a:moveTo>
                  <a:pt x="92467" y="0"/>
                </a:moveTo>
                <a:lnTo>
                  <a:pt x="1202076" y="0"/>
                </a:lnTo>
                <a:moveTo>
                  <a:pt x="0" y="739739"/>
                </a:moveTo>
                <a:lnTo>
                  <a:pt x="0" y="785972"/>
                </a:lnTo>
                <a:cubicBezTo>
                  <a:pt x="0" y="811506"/>
                  <a:pt x="20699" y="832206"/>
                  <a:pt x="46233" y="832206"/>
                </a:cubicBezTo>
                <a:lnTo>
                  <a:pt x="92467" y="832206"/>
                </a:lnTo>
                <a:moveTo>
                  <a:pt x="1294543" y="92467"/>
                </a:moveTo>
                <a:lnTo>
                  <a:pt x="1294543" y="46233"/>
                </a:lnTo>
                <a:cubicBezTo>
                  <a:pt x="1294543" y="20699"/>
                  <a:pt x="1273844" y="0"/>
                  <a:pt x="1248310" y="0"/>
                </a:cubicBezTo>
                <a:lnTo>
                  <a:pt x="1202076" y="0"/>
                </a:lnTo>
                <a:moveTo>
                  <a:pt x="1202076" y="832206"/>
                </a:moveTo>
                <a:lnTo>
                  <a:pt x="92467" y="832206"/>
                </a:lnTo>
                <a:moveTo>
                  <a:pt x="1294543" y="739739"/>
                </a:moveTo>
                <a:lnTo>
                  <a:pt x="1294543" y="785972"/>
                </a:lnTo>
                <a:cubicBezTo>
                  <a:pt x="1294543" y="811506"/>
                  <a:pt x="1273844" y="832206"/>
                  <a:pt x="1248310" y="832206"/>
                </a:cubicBezTo>
                <a:lnTo>
                  <a:pt x="1202076" y="832206"/>
                </a:lnTo>
              </a:path>
            </a:pathLst>
          </a:custGeom>
          <a:noFill/>
          <a:ln w="11558">
            <a:solidFill>
              <a:srgbClr val="FFFFFF"/>
            </a:solidFill>
          </a:ln>
        </p:spPr>
        <p:txBody>
          <a:bodyPr rtlCol="0" anchor="ctr"/>
          <a:lstStyle/>
          <a:p>
            <a:pPr algn="ctr"/>
            <a:endParaRPr sz="2000"/>
          </a:p>
        </p:txBody>
      </p:sp>
      <p:sp>
        <p:nvSpPr>
          <p:cNvPr id="34" name="Rounded Rectangle 33"/>
          <p:cNvSpPr/>
          <p:nvPr/>
        </p:nvSpPr>
        <p:spPr>
          <a:xfrm>
            <a:off x="9636107" y="1625542"/>
            <a:ext cx="2065540" cy="482905"/>
          </a:xfrm>
          <a:custGeom>
            <a:avLst/>
            <a:gdLst/>
            <a:ahLst/>
            <a:cxnLst/>
            <a:rect l="0" t="0" r="0" b="0"/>
            <a:pathLst>
              <a:path w="1387011" h="369869">
                <a:moveTo>
                  <a:pt x="1387011" y="323635"/>
                </a:moveTo>
                <a:cubicBezTo>
                  <a:pt x="1387011" y="349172"/>
                  <a:pt x="1366313" y="369869"/>
                  <a:pt x="1340777" y="369869"/>
                </a:cubicBezTo>
                <a:lnTo>
                  <a:pt x="1294543" y="369869"/>
                </a:lnTo>
                <a:lnTo>
                  <a:pt x="46233" y="369869"/>
                </a:lnTo>
                <a:cubicBezTo>
                  <a:pt x="20697" y="369869"/>
                  <a:pt x="0" y="349172"/>
                  <a:pt x="0" y="323635"/>
                </a:cubicBezTo>
                <a:lnTo>
                  <a:pt x="0" y="46233"/>
                </a:lnTo>
                <a:cubicBezTo>
                  <a:pt x="0" y="20697"/>
                  <a:pt x="20697" y="0"/>
                  <a:pt x="46233" y="0"/>
                </a:cubicBezTo>
                <a:lnTo>
                  <a:pt x="1340777" y="0"/>
                </a:lnTo>
                <a:cubicBezTo>
                  <a:pt x="1366313" y="0"/>
                  <a:pt x="1387011" y="20697"/>
                  <a:pt x="1387011" y="46233"/>
                </a:cubicBezTo>
                <a:lnTo>
                  <a:pt x="1387011" y="323635"/>
                </a:lnTo>
              </a:path>
            </a:pathLst>
          </a:custGeom>
          <a:noFill/>
          <a:ln>
            <a:solidFill>
              <a:schemeClr val="accent5">
                <a:lumMod val="20000"/>
                <a:lumOff val="80000"/>
              </a:schemeClr>
            </a:solidFill>
          </a:ln>
        </p:spPr>
        <p:txBody>
          <a:bodyPr rtlCol="0" anchor="ctr"/>
          <a:lstStyle/>
          <a:p>
            <a:pPr algn="ctr"/>
            <a:endParaRPr sz="2000"/>
          </a:p>
        </p:txBody>
      </p:sp>
      <p:sp>
        <p:nvSpPr>
          <p:cNvPr id="35" name="Rounded Rectangle 34"/>
          <p:cNvSpPr/>
          <p:nvPr/>
        </p:nvSpPr>
        <p:spPr>
          <a:xfrm>
            <a:off x="9636107" y="1625542"/>
            <a:ext cx="2065540" cy="482905"/>
          </a:xfrm>
          <a:custGeom>
            <a:avLst/>
            <a:gdLst/>
            <a:ahLst/>
            <a:cxnLst/>
            <a:rect l="0" t="0" r="0" b="0"/>
            <a:pathLst>
              <a:path w="1387011" h="369869">
                <a:moveTo>
                  <a:pt x="0" y="92467"/>
                </a:moveTo>
                <a:lnTo>
                  <a:pt x="0" y="46233"/>
                </a:lnTo>
                <a:cubicBezTo>
                  <a:pt x="0" y="20699"/>
                  <a:pt x="20699" y="0"/>
                  <a:pt x="46233" y="0"/>
                </a:cubicBezTo>
                <a:lnTo>
                  <a:pt x="92467" y="0"/>
                </a:lnTo>
                <a:moveTo>
                  <a:pt x="1387011" y="92467"/>
                </a:moveTo>
                <a:lnTo>
                  <a:pt x="1387011" y="277402"/>
                </a:lnTo>
                <a:moveTo>
                  <a:pt x="0" y="277402"/>
                </a:moveTo>
                <a:lnTo>
                  <a:pt x="0" y="92467"/>
                </a:lnTo>
                <a:moveTo>
                  <a:pt x="92467" y="0"/>
                </a:moveTo>
                <a:lnTo>
                  <a:pt x="1294543" y="0"/>
                </a:lnTo>
                <a:moveTo>
                  <a:pt x="0" y="277402"/>
                </a:moveTo>
                <a:lnTo>
                  <a:pt x="0" y="323635"/>
                </a:lnTo>
                <a:cubicBezTo>
                  <a:pt x="0" y="349170"/>
                  <a:pt x="20699" y="369869"/>
                  <a:pt x="46233" y="369869"/>
                </a:cubicBezTo>
                <a:lnTo>
                  <a:pt x="92467" y="369869"/>
                </a:lnTo>
                <a:moveTo>
                  <a:pt x="1387011" y="92467"/>
                </a:moveTo>
                <a:lnTo>
                  <a:pt x="1387011" y="46233"/>
                </a:lnTo>
                <a:cubicBezTo>
                  <a:pt x="1387011" y="20699"/>
                  <a:pt x="1366311" y="0"/>
                  <a:pt x="1340777" y="0"/>
                </a:cubicBezTo>
                <a:lnTo>
                  <a:pt x="1294543" y="0"/>
                </a:lnTo>
                <a:moveTo>
                  <a:pt x="1294543" y="369869"/>
                </a:moveTo>
                <a:lnTo>
                  <a:pt x="92467" y="369869"/>
                </a:lnTo>
                <a:moveTo>
                  <a:pt x="1387011" y="277402"/>
                </a:moveTo>
                <a:lnTo>
                  <a:pt x="1387011" y="323635"/>
                </a:lnTo>
                <a:cubicBezTo>
                  <a:pt x="1387011" y="349170"/>
                  <a:pt x="1366311" y="369869"/>
                  <a:pt x="1340777" y="369869"/>
                </a:cubicBezTo>
                <a:lnTo>
                  <a:pt x="1294543" y="369869"/>
                </a:lnTo>
              </a:path>
            </a:pathLst>
          </a:custGeom>
          <a:noFill/>
          <a:ln w="11558">
            <a:solidFill>
              <a:schemeClr val="accent5">
                <a:lumMod val="20000"/>
                <a:lumOff val="80000"/>
              </a:schemeClr>
            </a:solidFill>
          </a:ln>
        </p:spPr>
        <p:txBody>
          <a:bodyPr rtlCol="0" anchor="ctr"/>
          <a:lstStyle/>
          <a:p>
            <a:pPr algn="ctr"/>
            <a:endParaRPr sz="2000"/>
          </a:p>
        </p:txBody>
      </p:sp>
      <p:sp>
        <p:nvSpPr>
          <p:cNvPr id="36" name="Rounded Rectangle 35"/>
          <p:cNvSpPr/>
          <p:nvPr/>
        </p:nvSpPr>
        <p:spPr>
          <a:xfrm>
            <a:off x="9636107" y="2229173"/>
            <a:ext cx="2065540" cy="1086537"/>
          </a:xfrm>
          <a:custGeom>
            <a:avLst/>
            <a:gdLst/>
            <a:ahLst/>
            <a:cxnLst/>
            <a:rect l="0" t="0" r="0" b="0"/>
            <a:pathLst>
              <a:path w="1387011" h="832206">
                <a:moveTo>
                  <a:pt x="1387011" y="785973"/>
                </a:moveTo>
                <a:cubicBezTo>
                  <a:pt x="1387011" y="811509"/>
                  <a:pt x="1366313" y="832206"/>
                  <a:pt x="1340777" y="832206"/>
                </a:cubicBezTo>
                <a:lnTo>
                  <a:pt x="1294543" y="832206"/>
                </a:lnTo>
                <a:lnTo>
                  <a:pt x="46233" y="832206"/>
                </a:lnTo>
                <a:cubicBezTo>
                  <a:pt x="20697" y="832206"/>
                  <a:pt x="0" y="811509"/>
                  <a:pt x="0" y="785973"/>
                </a:cubicBezTo>
                <a:lnTo>
                  <a:pt x="0" y="46233"/>
                </a:lnTo>
                <a:cubicBezTo>
                  <a:pt x="0" y="20697"/>
                  <a:pt x="20697" y="0"/>
                  <a:pt x="46233" y="0"/>
                </a:cubicBezTo>
                <a:lnTo>
                  <a:pt x="1340777" y="0"/>
                </a:lnTo>
                <a:cubicBezTo>
                  <a:pt x="1366313" y="0"/>
                  <a:pt x="1387011" y="20697"/>
                  <a:pt x="1387011" y="46233"/>
                </a:cubicBezTo>
                <a:lnTo>
                  <a:pt x="1387011" y="785973"/>
                </a:lnTo>
              </a:path>
            </a:pathLst>
          </a:custGeom>
          <a:noFill/>
          <a:ln>
            <a:solidFill>
              <a:schemeClr val="accent5">
                <a:lumMod val="20000"/>
                <a:lumOff val="80000"/>
              </a:schemeClr>
            </a:solidFill>
          </a:ln>
        </p:spPr>
        <p:txBody>
          <a:bodyPr rtlCol="0" anchor="ctr"/>
          <a:lstStyle/>
          <a:p>
            <a:pPr algn="ctr"/>
            <a:endParaRPr sz="2000"/>
          </a:p>
        </p:txBody>
      </p:sp>
      <p:sp>
        <p:nvSpPr>
          <p:cNvPr id="37" name="Rounded Rectangle 36"/>
          <p:cNvSpPr/>
          <p:nvPr/>
        </p:nvSpPr>
        <p:spPr>
          <a:xfrm>
            <a:off x="9636107" y="2229173"/>
            <a:ext cx="2065540" cy="1086537"/>
          </a:xfrm>
          <a:custGeom>
            <a:avLst/>
            <a:gdLst/>
            <a:ahLst/>
            <a:cxnLst/>
            <a:rect l="0" t="0" r="0" b="0"/>
            <a:pathLst>
              <a:path w="1387011" h="832206">
                <a:moveTo>
                  <a:pt x="0" y="92467"/>
                </a:moveTo>
                <a:lnTo>
                  <a:pt x="0" y="46233"/>
                </a:lnTo>
                <a:cubicBezTo>
                  <a:pt x="0" y="20699"/>
                  <a:pt x="20699" y="0"/>
                  <a:pt x="46233" y="0"/>
                </a:cubicBezTo>
                <a:lnTo>
                  <a:pt x="92467" y="0"/>
                </a:lnTo>
                <a:moveTo>
                  <a:pt x="1387011" y="92467"/>
                </a:moveTo>
                <a:lnTo>
                  <a:pt x="1387011" y="739739"/>
                </a:lnTo>
                <a:moveTo>
                  <a:pt x="0" y="739739"/>
                </a:moveTo>
                <a:lnTo>
                  <a:pt x="0" y="92467"/>
                </a:lnTo>
                <a:moveTo>
                  <a:pt x="92467" y="0"/>
                </a:moveTo>
                <a:lnTo>
                  <a:pt x="1294544" y="0"/>
                </a:lnTo>
                <a:moveTo>
                  <a:pt x="0" y="739739"/>
                </a:moveTo>
                <a:lnTo>
                  <a:pt x="0" y="785972"/>
                </a:lnTo>
                <a:cubicBezTo>
                  <a:pt x="0" y="811507"/>
                  <a:pt x="20699" y="832206"/>
                  <a:pt x="46233" y="832206"/>
                </a:cubicBezTo>
                <a:lnTo>
                  <a:pt x="92467" y="832206"/>
                </a:lnTo>
                <a:moveTo>
                  <a:pt x="1387011" y="92467"/>
                </a:moveTo>
                <a:lnTo>
                  <a:pt x="1387011" y="46233"/>
                </a:lnTo>
                <a:cubicBezTo>
                  <a:pt x="1387011" y="20699"/>
                  <a:pt x="1366312" y="0"/>
                  <a:pt x="1340777" y="0"/>
                </a:cubicBezTo>
                <a:lnTo>
                  <a:pt x="1294544" y="0"/>
                </a:lnTo>
                <a:moveTo>
                  <a:pt x="1294544" y="832206"/>
                </a:moveTo>
                <a:lnTo>
                  <a:pt x="92467" y="832206"/>
                </a:lnTo>
                <a:moveTo>
                  <a:pt x="1387011" y="739739"/>
                </a:moveTo>
                <a:lnTo>
                  <a:pt x="1387011" y="785972"/>
                </a:lnTo>
                <a:cubicBezTo>
                  <a:pt x="1387011" y="811507"/>
                  <a:pt x="1366312" y="832206"/>
                  <a:pt x="1340777" y="832206"/>
                </a:cubicBezTo>
                <a:lnTo>
                  <a:pt x="1294544" y="832206"/>
                </a:lnTo>
              </a:path>
            </a:pathLst>
          </a:custGeom>
          <a:noFill/>
          <a:ln w="11558">
            <a:solidFill>
              <a:schemeClr val="accent5">
                <a:lumMod val="20000"/>
                <a:lumOff val="80000"/>
              </a:schemeClr>
            </a:solidFill>
          </a:ln>
        </p:spPr>
        <p:txBody>
          <a:bodyPr rtlCol="0" anchor="ctr"/>
          <a:lstStyle/>
          <a:p>
            <a:pPr algn="ctr"/>
            <a:endParaRPr sz="2000"/>
          </a:p>
        </p:txBody>
      </p:sp>
      <p:sp>
        <p:nvSpPr>
          <p:cNvPr id="38" name="Rounded Rectangle 37"/>
          <p:cNvSpPr/>
          <p:nvPr/>
        </p:nvSpPr>
        <p:spPr>
          <a:xfrm>
            <a:off x="9636107" y="3436437"/>
            <a:ext cx="2065540" cy="1086537"/>
          </a:xfrm>
          <a:custGeom>
            <a:avLst/>
            <a:gdLst/>
            <a:ahLst/>
            <a:cxnLst/>
            <a:rect l="0" t="0" r="0" b="0"/>
            <a:pathLst>
              <a:path w="1387011" h="832206">
                <a:moveTo>
                  <a:pt x="1387011" y="785973"/>
                </a:moveTo>
                <a:cubicBezTo>
                  <a:pt x="1387011" y="811509"/>
                  <a:pt x="1366313" y="832206"/>
                  <a:pt x="1340777" y="832206"/>
                </a:cubicBezTo>
                <a:lnTo>
                  <a:pt x="1294543" y="832206"/>
                </a:lnTo>
                <a:lnTo>
                  <a:pt x="46233" y="832206"/>
                </a:lnTo>
                <a:cubicBezTo>
                  <a:pt x="20697" y="832206"/>
                  <a:pt x="0" y="811509"/>
                  <a:pt x="0" y="785973"/>
                </a:cubicBezTo>
                <a:lnTo>
                  <a:pt x="0" y="46233"/>
                </a:lnTo>
                <a:cubicBezTo>
                  <a:pt x="0" y="20697"/>
                  <a:pt x="20697" y="0"/>
                  <a:pt x="46233" y="0"/>
                </a:cubicBezTo>
                <a:lnTo>
                  <a:pt x="1340777" y="0"/>
                </a:lnTo>
                <a:cubicBezTo>
                  <a:pt x="1366313" y="0"/>
                  <a:pt x="1387011" y="20697"/>
                  <a:pt x="1387011" y="46233"/>
                </a:cubicBezTo>
                <a:lnTo>
                  <a:pt x="1387011" y="785973"/>
                </a:lnTo>
              </a:path>
            </a:pathLst>
          </a:custGeom>
          <a:noFill/>
          <a:ln>
            <a:solidFill>
              <a:schemeClr val="accent5">
                <a:lumMod val="20000"/>
                <a:lumOff val="80000"/>
              </a:schemeClr>
            </a:solidFill>
          </a:ln>
        </p:spPr>
        <p:txBody>
          <a:bodyPr rtlCol="0" anchor="ctr"/>
          <a:lstStyle/>
          <a:p>
            <a:pPr algn="ctr"/>
            <a:endParaRPr sz="2000"/>
          </a:p>
        </p:txBody>
      </p:sp>
      <p:sp>
        <p:nvSpPr>
          <p:cNvPr id="39" name="Rounded Rectangle 38"/>
          <p:cNvSpPr/>
          <p:nvPr/>
        </p:nvSpPr>
        <p:spPr>
          <a:xfrm>
            <a:off x="9636107" y="3436437"/>
            <a:ext cx="2065540" cy="1086537"/>
          </a:xfrm>
          <a:custGeom>
            <a:avLst/>
            <a:gdLst/>
            <a:ahLst/>
            <a:cxnLst/>
            <a:rect l="0" t="0" r="0" b="0"/>
            <a:pathLst>
              <a:path w="1387011" h="832206">
                <a:moveTo>
                  <a:pt x="0" y="92467"/>
                </a:moveTo>
                <a:lnTo>
                  <a:pt x="0" y="46233"/>
                </a:lnTo>
                <a:cubicBezTo>
                  <a:pt x="0" y="20699"/>
                  <a:pt x="20699" y="0"/>
                  <a:pt x="46233" y="0"/>
                </a:cubicBezTo>
                <a:lnTo>
                  <a:pt x="92467" y="0"/>
                </a:lnTo>
                <a:moveTo>
                  <a:pt x="1387011" y="92467"/>
                </a:moveTo>
                <a:lnTo>
                  <a:pt x="1387011" y="739739"/>
                </a:lnTo>
                <a:moveTo>
                  <a:pt x="0" y="739739"/>
                </a:moveTo>
                <a:lnTo>
                  <a:pt x="0" y="92467"/>
                </a:lnTo>
                <a:moveTo>
                  <a:pt x="92467" y="0"/>
                </a:moveTo>
                <a:lnTo>
                  <a:pt x="1294544" y="0"/>
                </a:lnTo>
                <a:moveTo>
                  <a:pt x="0" y="739739"/>
                </a:moveTo>
                <a:lnTo>
                  <a:pt x="0" y="785973"/>
                </a:lnTo>
                <a:cubicBezTo>
                  <a:pt x="0" y="811507"/>
                  <a:pt x="20699" y="832206"/>
                  <a:pt x="46233" y="832206"/>
                </a:cubicBezTo>
                <a:lnTo>
                  <a:pt x="92467" y="832206"/>
                </a:lnTo>
                <a:moveTo>
                  <a:pt x="1387011" y="92467"/>
                </a:moveTo>
                <a:lnTo>
                  <a:pt x="1387011" y="46233"/>
                </a:lnTo>
                <a:cubicBezTo>
                  <a:pt x="1387011" y="20699"/>
                  <a:pt x="1366312" y="0"/>
                  <a:pt x="1340777" y="0"/>
                </a:cubicBezTo>
                <a:lnTo>
                  <a:pt x="1294544" y="0"/>
                </a:lnTo>
                <a:moveTo>
                  <a:pt x="1294544" y="832206"/>
                </a:moveTo>
                <a:lnTo>
                  <a:pt x="92467" y="832206"/>
                </a:lnTo>
                <a:moveTo>
                  <a:pt x="1387011" y="739739"/>
                </a:moveTo>
                <a:lnTo>
                  <a:pt x="1387011" y="785973"/>
                </a:lnTo>
                <a:cubicBezTo>
                  <a:pt x="1387011" y="811507"/>
                  <a:pt x="1366312" y="832206"/>
                  <a:pt x="1340777" y="832206"/>
                </a:cubicBezTo>
                <a:lnTo>
                  <a:pt x="1294544" y="832206"/>
                </a:lnTo>
              </a:path>
            </a:pathLst>
          </a:custGeom>
          <a:noFill/>
          <a:ln w="11558">
            <a:solidFill>
              <a:schemeClr val="accent5">
                <a:lumMod val="20000"/>
                <a:lumOff val="80000"/>
              </a:schemeClr>
            </a:solidFill>
          </a:ln>
        </p:spPr>
        <p:txBody>
          <a:bodyPr rtlCol="0" anchor="ctr"/>
          <a:lstStyle/>
          <a:p>
            <a:pPr algn="ctr"/>
            <a:endParaRPr sz="2000"/>
          </a:p>
        </p:txBody>
      </p:sp>
      <p:sp>
        <p:nvSpPr>
          <p:cNvPr id="40" name="Rounded Rectangle 39"/>
          <p:cNvSpPr/>
          <p:nvPr/>
        </p:nvSpPr>
        <p:spPr>
          <a:xfrm>
            <a:off x="9636107" y="4643702"/>
            <a:ext cx="2065540" cy="1086537"/>
          </a:xfrm>
          <a:custGeom>
            <a:avLst/>
            <a:gdLst/>
            <a:ahLst/>
            <a:cxnLst/>
            <a:rect l="0" t="0" r="0" b="0"/>
            <a:pathLst>
              <a:path w="1387011" h="832206">
                <a:moveTo>
                  <a:pt x="1387011" y="785973"/>
                </a:moveTo>
                <a:cubicBezTo>
                  <a:pt x="1387011" y="811509"/>
                  <a:pt x="1366313" y="832206"/>
                  <a:pt x="1340777" y="832206"/>
                </a:cubicBezTo>
                <a:lnTo>
                  <a:pt x="1294543" y="832206"/>
                </a:lnTo>
                <a:lnTo>
                  <a:pt x="46233" y="832206"/>
                </a:lnTo>
                <a:cubicBezTo>
                  <a:pt x="20697" y="832206"/>
                  <a:pt x="0" y="811509"/>
                  <a:pt x="0" y="785973"/>
                </a:cubicBezTo>
                <a:lnTo>
                  <a:pt x="0" y="46233"/>
                </a:lnTo>
                <a:cubicBezTo>
                  <a:pt x="0" y="20697"/>
                  <a:pt x="20697" y="0"/>
                  <a:pt x="46233" y="0"/>
                </a:cubicBezTo>
                <a:lnTo>
                  <a:pt x="1340777" y="0"/>
                </a:lnTo>
                <a:cubicBezTo>
                  <a:pt x="1366313" y="0"/>
                  <a:pt x="1387011" y="20697"/>
                  <a:pt x="1387011" y="46233"/>
                </a:cubicBezTo>
                <a:lnTo>
                  <a:pt x="1387011" y="785973"/>
                </a:lnTo>
              </a:path>
            </a:pathLst>
          </a:custGeom>
          <a:noFill/>
          <a:ln>
            <a:solidFill>
              <a:schemeClr val="accent5">
                <a:lumMod val="20000"/>
                <a:lumOff val="80000"/>
              </a:schemeClr>
            </a:solidFill>
          </a:ln>
        </p:spPr>
        <p:txBody>
          <a:bodyPr rtlCol="0" anchor="ctr"/>
          <a:lstStyle/>
          <a:p>
            <a:pPr algn="ctr"/>
            <a:endParaRPr sz="2000"/>
          </a:p>
        </p:txBody>
      </p:sp>
      <p:sp>
        <p:nvSpPr>
          <p:cNvPr id="41" name="Rounded Rectangle 40"/>
          <p:cNvSpPr/>
          <p:nvPr/>
        </p:nvSpPr>
        <p:spPr>
          <a:xfrm>
            <a:off x="9636107" y="4643702"/>
            <a:ext cx="2065540" cy="1086537"/>
          </a:xfrm>
          <a:custGeom>
            <a:avLst/>
            <a:gdLst/>
            <a:ahLst/>
            <a:cxnLst/>
            <a:rect l="0" t="0" r="0" b="0"/>
            <a:pathLst>
              <a:path w="1387011" h="832206">
                <a:moveTo>
                  <a:pt x="0" y="92467"/>
                </a:moveTo>
                <a:lnTo>
                  <a:pt x="0" y="46233"/>
                </a:lnTo>
                <a:cubicBezTo>
                  <a:pt x="0" y="20699"/>
                  <a:pt x="20699" y="0"/>
                  <a:pt x="46233" y="0"/>
                </a:cubicBezTo>
                <a:lnTo>
                  <a:pt x="92467" y="0"/>
                </a:lnTo>
                <a:moveTo>
                  <a:pt x="1387011" y="92467"/>
                </a:moveTo>
                <a:lnTo>
                  <a:pt x="1387011" y="739739"/>
                </a:lnTo>
                <a:moveTo>
                  <a:pt x="0" y="739739"/>
                </a:moveTo>
                <a:lnTo>
                  <a:pt x="0" y="92467"/>
                </a:lnTo>
                <a:moveTo>
                  <a:pt x="92467" y="0"/>
                </a:moveTo>
                <a:lnTo>
                  <a:pt x="1294544" y="0"/>
                </a:lnTo>
                <a:moveTo>
                  <a:pt x="0" y="739739"/>
                </a:moveTo>
                <a:lnTo>
                  <a:pt x="0" y="785972"/>
                </a:lnTo>
                <a:cubicBezTo>
                  <a:pt x="0" y="811506"/>
                  <a:pt x="20699" y="832206"/>
                  <a:pt x="46233" y="832206"/>
                </a:cubicBezTo>
                <a:lnTo>
                  <a:pt x="92467" y="832206"/>
                </a:lnTo>
                <a:moveTo>
                  <a:pt x="1387011" y="92467"/>
                </a:moveTo>
                <a:lnTo>
                  <a:pt x="1387011" y="46233"/>
                </a:lnTo>
                <a:cubicBezTo>
                  <a:pt x="1387011" y="20699"/>
                  <a:pt x="1366312" y="0"/>
                  <a:pt x="1340777" y="0"/>
                </a:cubicBezTo>
                <a:lnTo>
                  <a:pt x="1294544" y="0"/>
                </a:lnTo>
                <a:moveTo>
                  <a:pt x="1294544" y="832206"/>
                </a:moveTo>
                <a:lnTo>
                  <a:pt x="92467" y="832206"/>
                </a:lnTo>
                <a:moveTo>
                  <a:pt x="1387011" y="739739"/>
                </a:moveTo>
                <a:lnTo>
                  <a:pt x="1387011" y="785972"/>
                </a:lnTo>
                <a:cubicBezTo>
                  <a:pt x="1387011" y="811506"/>
                  <a:pt x="1366312" y="832206"/>
                  <a:pt x="1340777" y="832206"/>
                </a:cubicBezTo>
                <a:lnTo>
                  <a:pt x="1294544" y="832206"/>
                </a:lnTo>
              </a:path>
            </a:pathLst>
          </a:custGeom>
          <a:noFill/>
          <a:ln w="11558">
            <a:solidFill>
              <a:schemeClr val="accent5">
                <a:lumMod val="20000"/>
                <a:lumOff val="80000"/>
              </a:schemeClr>
            </a:solidFill>
          </a:ln>
        </p:spPr>
        <p:txBody>
          <a:bodyPr rtlCol="0" anchor="ctr"/>
          <a:lstStyle/>
          <a:p>
            <a:pPr algn="ctr"/>
            <a:endParaRPr sz="2000"/>
          </a:p>
        </p:txBody>
      </p:sp>
      <p:sp>
        <p:nvSpPr>
          <p:cNvPr id="42" name="TextBox 41"/>
          <p:cNvSpPr txBox="1"/>
          <p:nvPr/>
        </p:nvSpPr>
        <p:spPr>
          <a:xfrm>
            <a:off x="10143096" y="2613184"/>
            <a:ext cx="1051570" cy="307777"/>
          </a:xfrm>
          <a:prstGeom prst="rect">
            <a:avLst/>
          </a:prstGeom>
          <a:noFill/>
          <a:ln>
            <a:noFill/>
          </a:ln>
        </p:spPr>
        <p:txBody>
          <a:bodyPr wrap="square" lIns="0" tIns="0" rIns="0" bIns="0" anchor="t">
            <a:spAutoFit/>
          </a:bodyPr>
          <a:lstStyle/>
          <a:p>
            <a:pPr algn="ctr"/>
            <a:r>
              <a:rPr sz="1000" dirty="0">
                <a:solidFill>
                  <a:srgbClr val="484848"/>
                </a:solidFill>
              </a:rPr>
              <a:t>Lufthansa defines
“Vegan Meal”</a:t>
            </a:r>
          </a:p>
        </p:txBody>
      </p:sp>
      <p:sp>
        <p:nvSpPr>
          <p:cNvPr id="43" name="TextBox 42"/>
          <p:cNvSpPr txBox="1"/>
          <p:nvPr/>
        </p:nvSpPr>
        <p:spPr>
          <a:xfrm>
            <a:off x="8000729" y="2522639"/>
            <a:ext cx="1067600" cy="461665"/>
          </a:xfrm>
          <a:prstGeom prst="rect">
            <a:avLst/>
          </a:prstGeom>
          <a:noFill/>
          <a:ln>
            <a:noFill/>
          </a:ln>
        </p:spPr>
        <p:txBody>
          <a:bodyPr wrap="square" lIns="0" tIns="0" rIns="0" bIns="0" anchor="t">
            <a:spAutoFit/>
          </a:bodyPr>
          <a:lstStyle/>
          <a:p>
            <a:pPr algn="ctr"/>
            <a:r>
              <a:rPr sz="1000" dirty="0">
                <a:solidFill>
                  <a:srgbClr val="484848"/>
                </a:solidFill>
              </a:rPr>
              <a:t>Offer creation and
internal
distribution</a:t>
            </a:r>
          </a:p>
        </p:txBody>
      </p:sp>
      <p:sp>
        <p:nvSpPr>
          <p:cNvPr id="44" name="TextBox 43"/>
          <p:cNvSpPr txBox="1"/>
          <p:nvPr/>
        </p:nvSpPr>
        <p:spPr>
          <a:xfrm>
            <a:off x="10139929" y="4937168"/>
            <a:ext cx="1057983" cy="461665"/>
          </a:xfrm>
          <a:prstGeom prst="rect">
            <a:avLst/>
          </a:prstGeom>
          <a:noFill/>
          <a:ln>
            <a:noFill/>
          </a:ln>
        </p:spPr>
        <p:txBody>
          <a:bodyPr wrap="square" lIns="0" tIns="0" rIns="0" bIns="0" anchor="t">
            <a:spAutoFit/>
          </a:bodyPr>
          <a:lstStyle/>
          <a:p>
            <a:pPr algn="ctr"/>
            <a:r>
              <a:rPr sz="1000">
                <a:solidFill>
                  <a:srgbClr val="484848"/>
                </a:solidFill>
              </a:rPr>
              <a:t>Expedia accesses
the “Vegan Meal”
definition</a:t>
            </a:r>
          </a:p>
        </p:txBody>
      </p:sp>
      <p:sp>
        <p:nvSpPr>
          <p:cNvPr id="45" name="TextBox 44"/>
          <p:cNvSpPr txBox="1"/>
          <p:nvPr/>
        </p:nvSpPr>
        <p:spPr>
          <a:xfrm>
            <a:off x="3676596" y="2536239"/>
            <a:ext cx="1453563" cy="461665"/>
          </a:xfrm>
          <a:prstGeom prst="rect">
            <a:avLst/>
          </a:prstGeom>
          <a:noFill/>
          <a:ln>
            <a:noFill/>
          </a:ln>
        </p:spPr>
        <p:txBody>
          <a:bodyPr wrap="square" lIns="0" tIns="0" rIns="0" bIns="0" anchor="t">
            <a:spAutoFit/>
          </a:bodyPr>
          <a:lstStyle/>
          <a:p>
            <a:pPr algn="ctr"/>
            <a:r>
              <a:rPr sz="1000" dirty="0">
                <a:solidFill>
                  <a:srgbClr val="484848"/>
                </a:solidFill>
              </a:rPr>
              <a:t>Internal master</a:t>
            </a:r>
            <a:r>
              <a:rPr lang="de-CH" sz="1000" dirty="0">
                <a:solidFill>
                  <a:srgbClr val="484848"/>
                </a:solidFill>
              </a:rPr>
              <a:t> </a:t>
            </a:r>
            <a:r>
              <a:rPr sz="1000" dirty="0">
                <a:solidFill>
                  <a:srgbClr val="484848"/>
                </a:solidFill>
              </a:rPr>
              <a:t>source for all</a:t>
            </a:r>
            <a:r>
              <a:rPr lang="de-CH" sz="1000" dirty="0">
                <a:solidFill>
                  <a:srgbClr val="484848"/>
                </a:solidFill>
              </a:rPr>
              <a:t> </a:t>
            </a:r>
            <a:r>
              <a:rPr sz="1000" dirty="0">
                <a:solidFill>
                  <a:srgbClr val="484848"/>
                </a:solidFill>
              </a:rPr>
              <a:t>product and</a:t>
            </a:r>
            <a:r>
              <a:rPr lang="de-CH" sz="1000" dirty="0">
                <a:solidFill>
                  <a:srgbClr val="484848"/>
                </a:solidFill>
              </a:rPr>
              <a:t> </a:t>
            </a:r>
            <a:r>
              <a:rPr sz="1000" dirty="0">
                <a:solidFill>
                  <a:srgbClr val="484848"/>
                </a:solidFill>
              </a:rPr>
              <a:t>service data</a:t>
            </a:r>
          </a:p>
        </p:txBody>
      </p:sp>
      <p:sp>
        <p:nvSpPr>
          <p:cNvPr id="46" name="TextBox 45"/>
          <p:cNvSpPr txBox="1"/>
          <p:nvPr/>
        </p:nvSpPr>
        <p:spPr>
          <a:xfrm>
            <a:off x="604408" y="2693329"/>
            <a:ext cx="2372445" cy="276999"/>
          </a:xfrm>
          <a:prstGeom prst="rect">
            <a:avLst/>
          </a:prstGeom>
          <a:noFill/>
          <a:ln>
            <a:noFill/>
          </a:ln>
        </p:spPr>
        <p:txBody>
          <a:bodyPr wrap="none" lIns="0" tIns="0" rIns="0" bIns="0" anchor="t">
            <a:spAutoFit/>
          </a:bodyPr>
          <a:lstStyle/>
          <a:p>
            <a:pPr algn="r"/>
            <a:r>
              <a:rPr b="1" dirty="0">
                <a:solidFill>
                  <a:schemeClr val="accent1"/>
                </a:solidFill>
              </a:rPr>
              <a:t>Airline own catalogue</a:t>
            </a:r>
          </a:p>
        </p:txBody>
      </p:sp>
      <p:sp>
        <p:nvSpPr>
          <p:cNvPr id="47" name="TextBox 46"/>
          <p:cNvSpPr txBox="1"/>
          <p:nvPr/>
        </p:nvSpPr>
        <p:spPr>
          <a:xfrm>
            <a:off x="10303424" y="1779769"/>
            <a:ext cx="730969" cy="215444"/>
          </a:xfrm>
          <a:prstGeom prst="rect">
            <a:avLst/>
          </a:prstGeom>
          <a:noFill/>
          <a:ln>
            <a:noFill/>
          </a:ln>
        </p:spPr>
        <p:txBody>
          <a:bodyPr wrap="none" lIns="0" tIns="0" rIns="0" bIns="0" anchor="t">
            <a:spAutoFit/>
          </a:bodyPr>
          <a:lstStyle/>
          <a:p>
            <a:pPr algn="ctr"/>
            <a:r>
              <a:rPr sz="1400" b="1">
                <a:solidFill>
                  <a:srgbClr val="DE58A9"/>
                </a:solidFill>
              </a:rPr>
              <a:t>Example</a:t>
            </a:r>
          </a:p>
        </p:txBody>
      </p:sp>
      <p:sp>
        <p:nvSpPr>
          <p:cNvPr id="48" name="TextBox 47"/>
          <p:cNvSpPr txBox="1"/>
          <p:nvPr/>
        </p:nvSpPr>
        <p:spPr>
          <a:xfrm>
            <a:off x="864095" y="3900595"/>
            <a:ext cx="2112758" cy="276999"/>
          </a:xfrm>
          <a:prstGeom prst="rect">
            <a:avLst/>
          </a:prstGeom>
          <a:noFill/>
          <a:ln>
            <a:noFill/>
          </a:ln>
        </p:spPr>
        <p:txBody>
          <a:bodyPr wrap="none" lIns="0" tIns="0" rIns="0" bIns="0" anchor="t">
            <a:spAutoFit/>
          </a:bodyPr>
          <a:lstStyle/>
          <a:p>
            <a:pPr algn="r"/>
            <a:r>
              <a:rPr b="1" dirty="0">
                <a:solidFill>
                  <a:schemeClr val="accent1"/>
                </a:solidFill>
              </a:rPr>
              <a:t>Supplier Catalogue</a:t>
            </a:r>
          </a:p>
        </p:txBody>
      </p:sp>
      <p:sp>
        <p:nvSpPr>
          <p:cNvPr id="49" name="TextBox 48"/>
          <p:cNvSpPr txBox="1"/>
          <p:nvPr/>
        </p:nvSpPr>
        <p:spPr>
          <a:xfrm>
            <a:off x="3795104" y="3729903"/>
            <a:ext cx="1216545" cy="461665"/>
          </a:xfrm>
          <a:prstGeom prst="rect">
            <a:avLst/>
          </a:prstGeom>
          <a:noFill/>
          <a:ln>
            <a:noFill/>
          </a:ln>
        </p:spPr>
        <p:txBody>
          <a:bodyPr wrap="square" lIns="0" tIns="0" rIns="0" bIns="0" anchor="t">
            <a:spAutoFit/>
          </a:bodyPr>
          <a:lstStyle/>
          <a:p>
            <a:pPr algn="ctr"/>
            <a:r>
              <a:rPr sz="1000" dirty="0">
                <a:solidFill>
                  <a:srgbClr val="484848"/>
                </a:solidFill>
              </a:rPr>
              <a:t>Facilitates</a:t>
            </a:r>
            <a:r>
              <a:rPr lang="de-CH" sz="1000" dirty="0">
                <a:solidFill>
                  <a:srgbClr val="484848"/>
                </a:solidFill>
              </a:rPr>
              <a:t> </a:t>
            </a:r>
            <a:r>
              <a:rPr sz="1000" dirty="0">
                <a:solidFill>
                  <a:srgbClr val="484848"/>
                </a:solidFill>
              </a:rPr>
              <a:t>exchange between
</a:t>
            </a:r>
            <a:r>
              <a:rPr lang="de-CH" sz="1000" dirty="0">
                <a:solidFill>
                  <a:srgbClr val="484848"/>
                </a:solidFill>
              </a:rPr>
              <a:t>s</a:t>
            </a:r>
            <a:r>
              <a:rPr sz="1000" dirty="0" err="1">
                <a:solidFill>
                  <a:srgbClr val="484848"/>
                </a:solidFill>
              </a:rPr>
              <a:t>upplier</a:t>
            </a:r>
            <a:r>
              <a:rPr sz="1000" dirty="0">
                <a:solidFill>
                  <a:srgbClr val="484848"/>
                </a:solidFill>
              </a:rPr>
              <a:t> and</a:t>
            </a:r>
            <a:r>
              <a:rPr lang="de-CH" sz="1000" dirty="0">
                <a:solidFill>
                  <a:srgbClr val="484848"/>
                </a:solidFill>
              </a:rPr>
              <a:t> </a:t>
            </a:r>
            <a:r>
              <a:rPr sz="1000" dirty="0">
                <a:solidFill>
                  <a:srgbClr val="484848"/>
                </a:solidFill>
              </a:rPr>
              <a:t>retailer</a:t>
            </a:r>
          </a:p>
        </p:txBody>
      </p:sp>
      <p:sp>
        <p:nvSpPr>
          <p:cNvPr id="50" name="TextBox 49"/>
          <p:cNvSpPr txBox="1"/>
          <p:nvPr/>
        </p:nvSpPr>
        <p:spPr>
          <a:xfrm>
            <a:off x="5916719" y="3729903"/>
            <a:ext cx="1104470" cy="461665"/>
          </a:xfrm>
          <a:prstGeom prst="rect">
            <a:avLst/>
          </a:prstGeom>
          <a:noFill/>
          <a:ln>
            <a:noFill/>
          </a:ln>
        </p:spPr>
        <p:txBody>
          <a:bodyPr wrap="square" lIns="0" tIns="0" rIns="0" bIns="0" anchor="t">
            <a:spAutoFit/>
          </a:bodyPr>
          <a:lstStyle/>
          <a:p>
            <a:pPr algn="ctr"/>
            <a:r>
              <a:rPr sz="1000" dirty="0">
                <a:solidFill>
                  <a:srgbClr val="484848"/>
                </a:solidFill>
              </a:rPr>
              <a:t>Products suppliers
allow retailers to
sell</a:t>
            </a:r>
          </a:p>
        </p:txBody>
      </p:sp>
      <p:sp>
        <p:nvSpPr>
          <p:cNvPr id="51" name="TextBox 50"/>
          <p:cNvSpPr txBox="1"/>
          <p:nvPr/>
        </p:nvSpPr>
        <p:spPr>
          <a:xfrm>
            <a:off x="7974211" y="3729903"/>
            <a:ext cx="1120500" cy="461665"/>
          </a:xfrm>
          <a:prstGeom prst="rect">
            <a:avLst/>
          </a:prstGeom>
          <a:noFill/>
          <a:ln>
            <a:noFill/>
          </a:ln>
        </p:spPr>
        <p:txBody>
          <a:bodyPr wrap="square" lIns="0" tIns="0" rIns="0" bIns="0" anchor="t">
            <a:spAutoFit/>
          </a:bodyPr>
          <a:lstStyle/>
          <a:p>
            <a:pPr algn="ctr"/>
            <a:r>
              <a:rPr sz="1000">
                <a:solidFill>
                  <a:srgbClr val="484848"/>
                </a:solidFill>
              </a:rPr>
              <a:t>Exchange between
supplier and
retailer</a:t>
            </a:r>
          </a:p>
        </p:txBody>
      </p:sp>
      <p:sp>
        <p:nvSpPr>
          <p:cNvPr id="52" name="TextBox 51"/>
          <p:cNvSpPr txBox="1"/>
          <p:nvPr/>
        </p:nvSpPr>
        <p:spPr>
          <a:xfrm>
            <a:off x="10079719" y="3729903"/>
            <a:ext cx="1178208" cy="461665"/>
          </a:xfrm>
          <a:prstGeom prst="rect">
            <a:avLst/>
          </a:prstGeom>
          <a:noFill/>
          <a:ln>
            <a:noFill/>
          </a:ln>
        </p:spPr>
        <p:txBody>
          <a:bodyPr wrap="square" lIns="0" tIns="0" rIns="0" bIns="0" anchor="t">
            <a:spAutoFit/>
          </a:bodyPr>
          <a:lstStyle/>
          <a:p>
            <a:pPr algn="ctr"/>
            <a:r>
              <a:rPr sz="1000">
                <a:solidFill>
                  <a:srgbClr val="484848"/>
                </a:solidFill>
              </a:rPr>
              <a:t>LSG Sky Chefs uses
the same “Vegan
Meal” definition</a:t>
            </a:r>
          </a:p>
        </p:txBody>
      </p:sp>
      <p:sp>
        <p:nvSpPr>
          <p:cNvPr id="53" name="TextBox 52"/>
          <p:cNvSpPr txBox="1"/>
          <p:nvPr/>
        </p:nvSpPr>
        <p:spPr>
          <a:xfrm>
            <a:off x="8264377" y="1779769"/>
            <a:ext cx="540212" cy="215444"/>
          </a:xfrm>
          <a:prstGeom prst="rect">
            <a:avLst/>
          </a:prstGeom>
          <a:noFill/>
          <a:ln>
            <a:noFill/>
          </a:ln>
        </p:spPr>
        <p:txBody>
          <a:bodyPr wrap="none" lIns="0" tIns="0" rIns="0" bIns="0" anchor="t">
            <a:spAutoFit/>
          </a:bodyPr>
          <a:lstStyle/>
          <a:p>
            <a:pPr algn="ctr"/>
            <a:r>
              <a:rPr sz="1400" b="1">
                <a:solidFill>
                  <a:srgbClr val="E55753"/>
                </a:solidFill>
              </a:rPr>
              <a:t>Usage</a:t>
            </a:r>
          </a:p>
        </p:txBody>
      </p:sp>
      <p:sp>
        <p:nvSpPr>
          <p:cNvPr id="54" name="TextBox 53"/>
          <p:cNvSpPr txBox="1"/>
          <p:nvPr/>
        </p:nvSpPr>
        <p:spPr>
          <a:xfrm>
            <a:off x="6123439" y="1779769"/>
            <a:ext cx="690895" cy="215444"/>
          </a:xfrm>
          <a:prstGeom prst="rect">
            <a:avLst/>
          </a:prstGeom>
          <a:noFill/>
          <a:ln>
            <a:noFill/>
          </a:ln>
        </p:spPr>
        <p:txBody>
          <a:bodyPr wrap="none" lIns="0" tIns="0" rIns="0" bIns="0" anchor="t">
            <a:spAutoFit/>
          </a:bodyPr>
          <a:lstStyle/>
          <a:p>
            <a:pPr algn="ctr"/>
            <a:r>
              <a:rPr sz="1400" b="1">
                <a:solidFill>
                  <a:srgbClr val="DE8431"/>
                </a:solidFill>
              </a:rPr>
              <a:t>Content</a:t>
            </a:r>
          </a:p>
        </p:txBody>
      </p:sp>
      <p:sp>
        <p:nvSpPr>
          <p:cNvPr id="55" name="TextBox 54"/>
          <p:cNvSpPr txBox="1"/>
          <p:nvPr/>
        </p:nvSpPr>
        <p:spPr>
          <a:xfrm>
            <a:off x="4042772" y="1779769"/>
            <a:ext cx="721352" cy="215444"/>
          </a:xfrm>
          <a:prstGeom prst="rect">
            <a:avLst/>
          </a:prstGeom>
          <a:noFill/>
          <a:ln>
            <a:noFill/>
          </a:ln>
        </p:spPr>
        <p:txBody>
          <a:bodyPr wrap="none" lIns="0" tIns="0" rIns="0" bIns="0" anchor="t">
            <a:spAutoFit/>
          </a:bodyPr>
          <a:lstStyle/>
          <a:p>
            <a:pPr algn="ctr"/>
            <a:r>
              <a:rPr sz="1400" b="1">
                <a:solidFill>
                  <a:srgbClr val="E0CB15"/>
                </a:solidFill>
              </a:rPr>
              <a:t>Purpose</a:t>
            </a:r>
          </a:p>
        </p:txBody>
      </p:sp>
      <p:sp>
        <p:nvSpPr>
          <p:cNvPr id="58" name="TextBox 57"/>
          <p:cNvSpPr txBox="1"/>
          <p:nvPr/>
        </p:nvSpPr>
        <p:spPr>
          <a:xfrm>
            <a:off x="1479648" y="5107859"/>
            <a:ext cx="1497205" cy="276999"/>
          </a:xfrm>
          <a:prstGeom prst="rect">
            <a:avLst/>
          </a:prstGeom>
          <a:noFill/>
          <a:ln>
            <a:noFill/>
          </a:ln>
        </p:spPr>
        <p:txBody>
          <a:bodyPr wrap="none" lIns="0" tIns="0" rIns="0" bIns="0" anchor="t">
            <a:spAutoFit/>
          </a:bodyPr>
          <a:lstStyle/>
          <a:p>
            <a:pPr algn="r"/>
            <a:r>
              <a:rPr b="1" dirty="0">
                <a:solidFill>
                  <a:schemeClr val="accent1"/>
                </a:solidFill>
              </a:rPr>
              <a:t>Airline Profile</a:t>
            </a:r>
          </a:p>
        </p:txBody>
      </p:sp>
      <p:sp>
        <p:nvSpPr>
          <p:cNvPr id="59" name="TextBox 58"/>
          <p:cNvSpPr txBox="1"/>
          <p:nvPr/>
        </p:nvSpPr>
        <p:spPr>
          <a:xfrm>
            <a:off x="3994612" y="4937168"/>
            <a:ext cx="817533" cy="461665"/>
          </a:xfrm>
          <a:prstGeom prst="rect">
            <a:avLst/>
          </a:prstGeom>
          <a:noFill/>
          <a:ln>
            <a:noFill/>
          </a:ln>
        </p:spPr>
        <p:txBody>
          <a:bodyPr wrap="square" lIns="0" tIns="0" rIns="0" bIns="0" anchor="t">
            <a:spAutoFit/>
          </a:bodyPr>
          <a:lstStyle/>
          <a:p>
            <a:pPr algn="ctr"/>
            <a:r>
              <a:rPr sz="1000">
                <a:solidFill>
                  <a:srgbClr val="484848"/>
                </a:solidFill>
              </a:rPr>
              <a:t>Used for
distribution to
sellers</a:t>
            </a:r>
          </a:p>
        </p:txBody>
      </p:sp>
      <p:sp>
        <p:nvSpPr>
          <p:cNvPr id="60" name="TextBox 59"/>
          <p:cNvSpPr txBox="1"/>
          <p:nvPr/>
        </p:nvSpPr>
        <p:spPr>
          <a:xfrm>
            <a:off x="5932704" y="4846622"/>
            <a:ext cx="1072409" cy="615553"/>
          </a:xfrm>
          <a:prstGeom prst="rect">
            <a:avLst/>
          </a:prstGeom>
          <a:noFill/>
          <a:ln>
            <a:noFill/>
          </a:ln>
        </p:spPr>
        <p:txBody>
          <a:bodyPr wrap="square" lIns="0" tIns="0" rIns="0" bIns="0" anchor="t">
            <a:spAutoFit/>
          </a:bodyPr>
          <a:lstStyle/>
          <a:p>
            <a:pPr algn="ctr"/>
            <a:r>
              <a:rPr sz="1000" dirty="0">
                <a:solidFill>
                  <a:srgbClr val="484848"/>
                </a:solidFill>
              </a:rPr>
              <a:t>What
products/services
the retailer wants
offers for</a:t>
            </a:r>
          </a:p>
        </p:txBody>
      </p:sp>
      <p:sp>
        <p:nvSpPr>
          <p:cNvPr id="61" name="TextBox 60"/>
          <p:cNvSpPr txBox="1"/>
          <p:nvPr/>
        </p:nvSpPr>
        <p:spPr>
          <a:xfrm>
            <a:off x="8118538" y="5027713"/>
            <a:ext cx="831959" cy="307777"/>
          </a:xfrm>
          <a:prstGeom prst="rect">
            <a:avLst/>
          </a:prstGeom>
          <a:noFill/>
          <a:ln>
            <a:noFill/>
          </a:ln>
        </p:spPr>
        <p:txBody>
          <a:bodyPr wrap="square" lIns="0" tIns="0" rIns="0" bIns="0" anchor="t">
            <a:spAutoFit/>
          </a:bodyPr>
          <a:lstStyle/>
          <a:p>
            <a:pPr algn="ctr"/>
            <a:r>
              <a:rPr sz="1000">
                <a:solidFill>
                  <a:srgbClr val="484848"/>
                </a:solidFill>
              </a:rPr>
              <a:t>Distribution to
sellers</a:t>
            </a:r>
          </a:p>
        </p:txBody>
      </p:sp>
      <p:sp>
        <p:nvSpPr>
          <p:cNvPr id="62" name="TextBox 61"/>
          <p:cNvSpPr txBox="1"/>
          <p:nvPr/>
        </p:nvSpPr>
        <p:spPr>
          <a:xfrm>
            <a:off x="5984779" y="2522639"/>
            <a:ext cx="968215" cy="461665"/>
          </a:xfrm>
          <a:prstGeom prst="rect">
            <a:avLst/>
          </a:prstGeom>
          <a:noFill/>
          <a:ln>
            <a:noFill/>
          </a:ln>
        </p:spPr>
        <p:txBody>
          <a:bodyPr wrap="square" lIns="0" tIns="0" rIns="0" bIns="0" anchor="t">
            <a:spAutoFit/>
          </a:bodyPr>
          <a:lstStyle/>
          <a:p>
            <a:pPr algn="ctr"/>
            <a:r>
              <a:rPr sz="1000" dirty="0">
                <a:solidFill>
                  <a:srgbClr val="484848"/>
                </a:solidFill>
              </a:rPr>
              <a:t>All airline-owned
products and
services</a:t>
            </a:r>
          </a:p>
        </p:txBody>
      </p:sp>
      <p:sp>
        <p:nvSpPr>
          <p:cNvPr id="63" name="Title 62">
            <a:extLst>
              <a:ext uri="{FF2B5EF4-FFF2-40B4-BE49-F238E27FC236}">
                <a16:creationId xmlns:a16="http://schemas.microsoft.com/office/drawing/2014/main" id="{F8E9321F-2ABE-28DC-1618-9005CE6445CA}"/>
              </a:ext>
            </a:extLst>
          </p:cNvPr>
          <p:cNvSpPr>
            <a:spLocks noGrp="1"/>
          </p:cNvSpPr>
          <p:nvPr>
            <p:ph type="title"/>
          </p:nvPr>
        </p:nvSpPr>
        <p:spPr/>
        <p:txBody>
          <a:bodyPr/>
          <a:lstStyle/>
          <a:p>
            <a:r>
              <a:rPr lang="en-US" dirty="0"/>
              <a:t>Product Catalogue | Variants</a:t>
            </a:r>
          </a:p>
        </p:txBody>
      </p:sp>
      <p:sp>
        <p:nvSpPr>
          <p:cNvPr id="2" name="Date Placeholder 1">
            <a:extLst>
              <a:ext uri="{FF2B5EF4-FFF2-40B4-BE49-F238E27FC236}">
                <a16:creationId xmlns:a16="http://schemas.microsoft.com/office/drawing/2014/main" id="{2C005B34-1F74-BFD7-E663-A98A1CF4BA85}"/>
              </a:ext>
            </a:extLst>
          </p:cNvPr>
          <p:cNvSpPr>
            <a:spLocks noGrp="1"/>
          </p:cNvSpPr>
          <p:nvPr>
            <p:ph type="dt" sz="half" idx="10"/>
          </p:nvPr>
        </p:nvSpPr>
        <p:spPr/>
        <p:txBody>
          <a:bodyPr/>
          <a:lstStyle/>
          <a:p>
            <a:r>
              <a:rPr lang="de-DE"/>
              <a:t>02 November 2025</a:t>
            </a:r>
            <a:endParaRPr lang="en-US"/>
          </a:p>
        </p:txBody>
      </p:sp>
      <p:sp>
        <p:nvSpPr>
          <p:cNvPr id="56" name="Footer Placeholder 55">
            <a:extLst>
              <a:ext uri="{FF2B5EF4-FFF2-40B4-BE49-F238E27FC236}">
                <a16:creationId xmlns:a16="http://schemas.microsoft.com/office/drawing/2014/main" id="{D0907603-6BE1-B6FE-48BA-A756976FBED3}"/>
              </a:ext>
            </a:extLst>
          </p:cNvPr>
          <p:cNvSpPr>
            <a:spLocks noGrp="1"/>
          </p:cNvSpPr>
          <p:nvPr>
            <p:ph type="ftr" sz="quarter" idx="11"/>
          </p:nvPr>
        </p:nvSpPr>
        <p:spPr/>
        <p:txBody>
          <a:bodyPr/>
          <a:lstStyle/>
          <a:p>
            <a:r>
              <a:rPr lang="en-US"/>
              <a:t>APMWG</a:t>
            </a:r>
          </a:p>
        </p:txBody>
      </p:sp>
      <p:sp>
        <p:nvSpPr>
          <p:cNvPr id="57" name="Slide Number Placeholder 56">
            <a:extLst>
              <a:ext uri="{FF2B5EF4-FFF2-40B4-BE49-F238E27FC236}">
                <a16:creationId xmlns:a16="http://schemas.microsoft.com/office/drawing/2014/main" id="{0FED00A2-D08A-E155-F493-D49C0D5BFB1D}"/>
              </a:ext>
            </a:extLst>
          </p:cNvPr>
          <p:cNvSpPr>
            <a:spLocks noGrp="1"/>
          </p:cNvSpPr>
          <p:nvPr>
            <p:ph type="sldNum" sz="quarter" idx="12"/>
          </p:nvPr>
        </p:nvSpPr>
        <p:spPr/>
        <p:txBody>
          <a:bodyPr/>
          <a:lstStyle/>
          <a:p>
            <a:fld id="{1A9E565A-6679-4A67-8FB7-14EA342FD6E1}" type="slidenum">
              <a:rPr lang="en-US" smtClean="0"/>
              <a:pPr/>
              <a:t>6</a:t>
            </a:fld>
            <a:endParaRPr lang="en-US"/>
          </a:p>
        </p:txBody>
      </p:sp>
    </p:spTree>
  </p:cSld>
  <p:clrMapOvr>
    <a:masterClrMapping/>
  </p:clrMapOvr>
  <p:transition>
    <p:fade/>
  </p:transition>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F738F-318F-14BF-ADA4-7F3E593C153C}"/>
              </a:ext>
            </a:extLst>
          </p:cNvPr>
          <p:cNvSpPr>
            <a:spLocks noGrp="1"/>
          </p:cNvSpPr>
          <p:nvPr>
            <p:ph type="title"/>
          </p:nvPr>
        </p:nvSpPr>
        <p:spPr/>
        <p:txBody>
          <a:bodyPr/>
          <a:lstStyle/>
          <a:p>
            <a:r>
              <a:rPr lang="en-US" dirty="0"/>
              <a:t>Product Catalogue | Out of scope</a:t>
            </a:r>
          </a:p>
        </p:txBody>
      </p:sp>
      <p:sp>
        <p:nvSpPr>
          <p:cNvPr id="3" name="Date Placeholder 2">
            <a:extLst>
              <a:ext uri="{FF2B5EF4-FFF2-40B4-BE49-F238E27FC236}">
                <a16:creationId xmlns:a16="http://schemas.microsoft.com/office/drawing/2014/main" id="{F57D2A3B-0536-FC30-621F-5A59B05C2990}"/>
              </a:ext>
            </a:extLst>
          </p:cNvPr>
          <p:cNvSpPr>
            <a:spLocks noGrp="1"/>
          </p:cNvSpPr>
          <p:nvPr>
            <p:ph type="dt" sz="half" idx="10"/>
          </p:nvPr>
        </p:nvSpPr>
        <p:spPr/>
        <p:txBody>
          <a:bodyPr/>
          <a:lstStyle/>
          <a:p>
            <a:r>
              <a:rPr lang="de-DE"/>
              <a:t>02 November 2025</a:t>
            </a:r>
            <a:endParaRPr lang="en-US"/>
          </a:p>
        </p:txBody>
      </p:sp>
      <p:sp>
        <p:nvSpPr>
          <p:cNvPr id="4" name="Footer Placeholder 3">
            <a:extLst>
              <a:ext uri="{FF2B5EF4-FFF2-40B4-BE49-F238E27FC236}">
                <a16:creationId xmlns:a16="http://schemas.microsoft.com/office/drawing/2014/main" id="{A26F7B32-D9E7-58D0-DF7D-0F9B322CF896}"/>
              </a:ext>
            </a:extLst>
          </p:cNvPr>
          <p:cNvSpPr>
            <a:spLocks noGrp="1"/>
          </p:cNvSpPr>
          <p:nvPr>
            <p:ph type="ftr" sz="quarter" idx="11"/>
          </p:nvPr>
        </p:nvSpPr>
        <p:spPr/>
        <p:txBody>
          <a:bodyPr/>
          <a:lstStyle/>
          <a:p>
            <a:r>
              <a:rPr lang="en-US"/>
              <a:t>APMWG</a:t>
            </a:r>
          </a:p>
        </p:txBody>
      </p:sp>
      <p:sp>
        <p:nvSpPr>
          <p:cNvPr id="5" name="Slide Number Placeholder 4">
            <a:extLst>
              <a:ext uri="{FF2B5EF4-FFF2-40B4-BE49-F238E27FC236}">
                <a16:creationId xmlns:a16="http://schemas.microsoft.com/office/drawing/2014/main" id="{F79F5748-81A6-6573-500E-45E238F19573}"/>
              </a:ext>
            </a:extLst>
          </p:cNvPr>
          <p:cNvSpPr>
            <a:spLocks noGrp="1"/>
          </p:cNvSpPr>
          <p:nvPr>
            <p:ph type="sldNum" sz="quarter" idx="12"/>
          </p:nvPr>
        </p:nvSpPr>
        <p:spPr/>
        <p:txBody>
          <a:bodyPr/>
          <a:lstStyle/>
          <a:p>
            <a:fld id="{1A9E565A-6679-4A67-8FB7-14EA342FD6E1}" type="slidenum">
              <a:rPr lang="en-US" smtClean="0"/>
              <a:pPr/>
              <a:t>7</a:t>
            </a:fld>
            <a:endParaRPr lang="en-US"/>
          </a:p>
        </p:txBody>
      </p:sp>
      <p:sp>
        <p:nvSpPr>
          <p:cNvPr id="6" name="Rounded Rectangle 1">
            <a:extLst>
              <a:ext uri="{FF2B5EF4-FFF2-40B4-BE49-F238E27FC236}">
                <a16:creationId xmlns:a16="http://schemas.microsoft.com/office/drawing/2014/main" id="{03713DE5-5D28-1936-D5AD-DC8A9162D2B5}"/>
              </a:ext>
            </a:extLst>
          </p:cNvPr>
          <p:cNvSpPr/>
          <p:nvPr/>
        </p:nvSpPr>
        <p:spPr>
          <a:xfrm>
            <a:off x="2443269" y="4155714"/>
            <a:ext cx="5385088" cy="1309254"/>
          </a:xfrm>
          <a:custGeom>
            <a:avLst/>
            <a:gdLst/>
            <a:ahLst/>
            <a:cxnLst/>
            <a:rect l="0" t="0" r="0" b="0"/>
            <a:pathLst>
              <a:path w="5385088" h="1309254">
                <a:moveTo>
                  <a:pt x="3086100" y="467590"/>
                </a:moveTo>
                <a:lnTo>
                  <a:pt x="4021281" y="0"/>
                </a:lnTo>
                <a:lnTo>
                  <a:pt x="5385088" y="0"/>
                </a:lnTo>
                <a:lnTo>
                  <a:pt x="4675909" y="1215736"/>
                </a:lnTo>
                <a:lnTo>
                  <a:pt x="4675909" y="374072"/>
                </a:lnTo>
                <a:lnTo>
                  <a:pt x="4021281" y="374072"/>
                </a:lnTo>
                <a:lnTo>
                  <a:pt x="3086100" y="1309254"/>
                </a:lnTo>
                <a:lnTo>
                  <a:pt x="0" y="1309254"/>
                </a:lnTo>
                <a:lnTo>
                  <a:pt x="0" y="467590"/>
                </a:lnTo>
                <a:lnTo>
                  <a:pt x="3086100" y="467590"/>
                </a:lnTo>
              </a:path>
            </a:pathLst>
          </a:custGeom>
          <a:solidFill>
            <a:schemeClr val="accent1"/>
          </a:solidFill>
          <a:ln>
            <a:noFill/>
          </a:ln>
        </p:spPr>
        <p:txBody>
          <a:bodyPr rtlCol="0" anchor="ctr"/>
          <a:lstStyle/>
          <a:p>
            <a:pPr algn="ctr"/>
            <a:endParaRPr/>
          </a:p>
        </p:txBody>
      </p:sp>
      <p:sp>
        <p:nvSpPr>
          <p:cNvPr id="7" name="Rounded Rectangle 2">
            <a:extLst>
              <a:ext uri="{FF2B5EF4-FFF2-40B4-BE49-F238E27FC236}">
                <a16:creationId xmlns:a16="http://schemas.microsoft.com/office/drawing/2014/main" id="{A06CE3FD-0471-B611-27F7-35C97537D662}"/>
              </a:ext>
            </a:extLst>
          </p:cNvPr>
          <p:cNvSpPr/>
          <p:nvPr/>
        </p:nvSpPr>
        <p:spPr>
          <a:xfrm>
            <a:off x="2443269" y="4155714"/>
            <a:ext cx="5385088" cy="1309254"/>
          </a:xfrm>
          <a:custGeom>
            <a:avLst/>
            <a:gdLst/>
            <a:ahLst/>
            <a:cxnLst/>
            <a:rect l="0" t="0" r="0" b="0"/>
            <a:pathLst>
              <a:path w="5385088" h="1309254">
                <a:moveTo>
                  <a:pt x="3086100" y="467590"/>
                </a:moveTo>
                <a:lnTo>
                  <a:pt x="4021281" y="0"/>
                </a:lnTo>
                <a:lnTo>
                  <a:pt x="5385088" y="0"/>
                </a:lnTo>
                <a:lnTo>
                  <a:pt x="4675909" y="1215736"/>
                </a:lnTo>
                <a:lnTo>
                  <a:pt x="4675909" y="374072"/>
                </a:lnTo>
                <a:lnTo>
                  <a:pt x="4021281" y="374072"/>
                </a:lnTo>
                <a:lnTo>
                  <a:pt x="3086100" y="1309254"/>
                </a:lnTo>
                <a:lnTo>
                  <a:pt x="0" y="1309254"/>
                </a:lnTo>
                <a:lnTo>
                  <a:pt x="0" y="467590"/>
                </a:lnTo>
                <a:lnTo>
                  <a:pt x="3086100" y="467590"/>
                </a:lnTo>
                <a:close/>
              </a:path>
            </a:pathLst>
          </a:custGeom>
          <a:noFill/>
          <a:ln w="11689">
            <a:solidFill>
              <a:srgbClr val="FFFFFF"/>
            </a:solidFill>
          </a:ln>
        </p:spPr>
        <p:txBody>
          <a:bodyPr rtlCol="0" anchor="ctr"/>
          <a:lstStyle/>
          <a:p>
            <a:pPr algn="ctr"/>
            <a:endParaRPr/>
          </a:p>
        </p:txBody>
      </p:sp>
      <p:sp>
        <p:nvSpPr>
          <p:cNvPr id="8" name="Rounded Rectangle 3">
            <a:extLst>
              <a:ext uri="{FF2B5EF4-FFF2-40B4-BE49-F238E27FC236}">
                <a16:creationId xmlns:a16="http://schemas.microsoft.com/office/drawing/2014/main" id="{A90831C2-18D2-75ED-56C6-1A8035A3ABE1}"/>
              </a:ext>
            </a:extLst>
          </p:cNvPr>
          <p:cNvSpPr/>
          <p:nvPr/>
        </p:nvSpPr>
        <p:spPr>
          <a:xfrm>
            <a:off x="2443270" y="2098314"/>
            <a:ext cx="5388985" cy="1309254"/>
          </a:xfrm>
          <a:custGeom>
            <a:avLst/>
            <a:gdLst/>
            <a:ahLst/>
            <a:cxnLst/>
            <a:rect l="0" t="0" r="0" b="0"/>
            <a:pathLst>
              <a:path w="5388985" h="1309254">
                <a:moveTo>
                  <a:pt x="3086100" y="841663"/>
                </a:moveTo>
                <a:lnTo>
                  <a:pt x="4021281" y="1309254"/>
                </a:lnTo>
                <a:lnTo>
                  <a:pt x="5388985" y="1309254"/>
                </a:lnTo>
                <a:lnTo>
                  <a:pt x="4675909" y="93518"/>
                </a:lnTo>
                <a:lnTo>
                  <a:pt x="4675909" y="935181"/>
                </a:lnTo>
                <a:lnTo>
                  <a:pt x="4021281" y="935181"/>
                </a:lnTo>
                <a:lnTo>
                  <a:pt x="3086100" y="0"/>
                </a:lnTo>
                <a:lnTo>
                  <a:pt x="0" y="0"/>
                </a:lnTo>
                <a:lnTo>
                  <a:pt x="0" y="841663"/>
                </a:lnTo>
                <a:lnTo>
                  <a:pt x="3086100" y="841663"/>
                </a:lnTo>
              </a:path>
            </a:pathLst>
          </a:custGeom>
          <a:solidFill>
            <a:schemeClr val="accent1"/>
          </a:solidFill>
          <a:ln>
            <a:noFill/>
          </a:ln>
        </p:spPr>
        <p:txBody>
          <a:bodyPr rtlCol="0" anchor="ctr"/>
          <a:lstStyle/>
          <a:p>
            <a:pPr algn="ctr"/>
            <a:endParaRPr/>
          </a:p>
        </p:txBody>
      </p:sp>
      <p:sp>
        <p:nvSpPr>
          <p:cNvPr id="9" name="Rounded Rectangle 4">
            <a:extLst>
              <a:ext uri="{FF2B5EF4-FFF2-40B4-BE49-F238E27FC236}">
                <a16:creationId xmlns:a16="http://schemas.microsoft.com/office/drawing/2014/main" id="{6FBC9520-EDAD-768B-9398-1934C89978C0}"/>
              </a:ext>
            </a:extLst>
          </p:cNvPr>
          <p:cNvSpPr/>
          <p:nvPr/>
        </p:nvSpPr>
        <p:spPr>
          <a:xfrm>
            <a:off x="2443270" y="2098314"/>
            <a:ext cx="5388985" cy="1309254"/>
          </a:xfrm>
          <a:custGeom>
            <a:avLst/>
            <a:gdLst/>
            <a:ahLst/>
            <a:cxnLst/>
            <a:rect l="0" t="0" r="0" b="0"/>
            <a:pathLst>
              <a:path w="5388985" h="1309254">
                <a:moveTo>
                  <a:pt x="3086100" y="841663"/>
                </a:moveTo>
                <a:lnTo>
                  <a:pt x="4021281" y="1309254"/>
                </a:lnTo>
                <a:lnTo>
                  <a:pt x="5388985" y="1309254"/>
                </a:lnTo>
                <a:lnTo>
                  <a:pt x="4675909" y="93518"/>
                </a:lnTo>
                <a:lnTo>
                  <a:pt x="4675909" y="935181"/>
                </a:lnTo>
                <a:lnTo>
                  <a:pt x="4021281" y="935181"/>
                </a:lnTo>
                <a:lnTo>
                  <a:pt x="3086100" y="0"/>
                </a:lnTo>
                <a:lnTo>
                  <a:pt x="0" y="0"/>
                </a:lnTo>
                <a:lnTo>
                  <a:pt x="0" y="841663"/>
                </a:lnTo>
                <a:lnTo>
                  <a:pt x="3086100" y="841663"/>
                </a:lnTo>
                <a:close/>
              </a:path>
            </a:pathLst>
          </a:custGeom>
          <a:noFill/>
          <a:ln w="11689">
            <a:solidFill>
              <a:srgbClr val="FFFFFF"/>
            </a:solidFill>
          </a:ln>
        </p:spPr>
        <p:txBody>
          <a:bodyPr rtlCol="0" anchor="ctr"/>
          <a:lstStyle/>
          <a:p>
            <a:pPr algn="ctr"/>
            <a:endParaRPr/>
          </a:p>
        </p:txBody>
      </p:sp>
      <p:sp>
        <p:nvSpPr>
          <p:cNvPr id="10" name="Rounded Rectangle 5">
            <a:extLst>
              <a:ext uri="{FF2B5EF4-FFF2-40B4-BE49-F238E27FC236}">
                <a16:creationId xmlns:a16="http://schemas.microsoft.com/office/drawing/2014/main" id="{45553DE3-A2F3-0F2A-4611-239CD2ABD690}"/>
              </a:ext>
            </a:extLst>
          </p:cNvPr>
          <p:cNvSpPr/>
          <p:nvPr/>
        </p:nvSpPr>
        <p:spPr>
          <a:xfrm>
            <a:off x="2443269" y="2939978"/>
            <a:ext cx="5611090" cy="841663"/>
          </a:xfrm>
          <a:custGeom>
            <a:avLst/>
            <a:gdLst/>
            <a:ahLst/>
            <a:cxnLst/>
            <a:rect l="0" t="0" r="0" b="0"/>
            <a:pathLst>
              <a:path w="5611090" h="841663">
                <a:moveTo>
                  <a:pt x="0" y="0"/>
                </a:moveTo>
                <a:lnTo>
                  <a:pt x="3086100" y="0"/>
                </a:lnTo>
                <a:lnTo>
                  <a:pt x="4021281" y="467590"/>
                </a:lnTo>
                <a:lnTo>
                  <a:pt x="5388985" y="467590"/>
                </a:lnTo>
                <a:lnTo>
                  <a:pt x="5611090" y="841663"/>
                </a:lnTo>
                <a:lnTo>
                  <a:pt x="0" y="841663"/>
                </a:lnTo>
                <a:lnTo>
                  <a:pt x="0" y="0"/>
                </a:lnTo>
              </a:path>
            </a:pathLst>
          </a:custGeom>
          <a:solidFill>
            <a:schemeClr val="accent1"/>
          </a:solidFill>
          <a:ln>
            <a:noFill/>
          </a:ln>
        </p:spPr>
        <p:txBody>
          <a:bodyPr rtlCol="0" anchor="ctr"/>
          <a:lstStyle/>
          <a:p>
            <a:pPr algn="ctr"/>
            <a:endParaRPr/>
          </a:p>
        </p:txBody>
      </p:sp>
      <p:sp>
        <p:nvSpPr>
          <p:cNvPr id="11" name="Rounded Rectangle 6">
            <a:extLst>
              <a:ext uri="{FF2B5EF4-FFF2-40B4-BE49-F238E27FC236}">
                <a16:creationId xmlns:a16="http://schemas.microsoft.com/office/drawing/2014/main" id="{91B3F4AE-E169-54E6-012C-964A5F69E32C}"/>
              </a:ext>
            </a:extLst>
          </p:cNvPr>
          <p:cNvSpPr/>
          <p:nvPr/>
        </p:nvSpPr>
        <p:spPr>
          <a:xfrm>
            <a:off x="2443269" y="2939978"/>
            <a:ext cx="5611090" cy="841663"/>
          </a:xfrm>
          <a:custGeom>
            <a:avLst/>
            <a:gdLst/>
            <a:ahLst/>
            <a:cxnLst/>
            <a:rect l="0" t="0" r="0" b="0"/>
            <a:pathLst>
              <a:path w="5611090" h="841663">
                <a:moveTo>
                  <a:pt x="0" y="0"/>
                </a:moveTo>
                <a:lnTo>
                  <a:pt x="3086100" y="0"/>
                </a:lnTo>
                <a:lnTo>
                  <a:pt x="4021281" y="467590"/>
                </a:lnTo>
                <a:lnTo>
                  <a:pt x="5388985" y="467590"/>
                </a:lnTo>
                <a:lnTo>
                  <a:pt x="5611090" y="841663"/>
                </a:lnTo>
                <a:lnTo>
                  <a:pt x="0" y="841663"/>
                </a:lnTo>
                <a:lnTo>
                  <a:pt x="0" y="0"/>
                </a:lnTo>
                <a:close/>
              </a:path>
            </a:pathLst>
          </a:custGeom>
          <a:noFill/>
          <a:ln w="11689">
            <a:solidFill>
              <a:srgbClr val="FFFFFF"/>
            </a:solidFill>
          </a:ln>
        </p:spPr>
        <p:txBody>
          <a:bodyPr rtlCol="0" anchor="ctr"/>
          <a:lstStyle/>
          <a:p>
            <a:pPr algn="ctr"/>
            <a:endParaRPr/>
          </a:p>
        </p:txBody>
      </p:sp>
      <p:sp>
        <p:nvSpPr>
          <p:cNvPr id="12" name="Rounded Rectangle 7">
            <a:extLst>
              <a:ext uri="{FF2B5EF4-FFF2-40B4-BE49-F238E27FC236}">
                <a16:creationId xmlns:a16="http://schemas.microsoft.com/office/drawing/2014/main" id="{C99BF7D0-A46A-BE51-C542-06F25322421B}"/>
              </a:ext>
            </a:extLst>
          </p:cNvPr>
          <p:cNvSpPr/>
          <p:nvPr/>
        </p:nvSpPr>
        <p:spPr>
          <a:xfrm>
            <a:off x="2443269" y="3781642"/>
            <a:ext cx="5611090" cy="841663"/>
          </a:xfrm>
          <a:custGeom>
            <a:avLst/>
            <a:gdLst/>
            <a:ahLst/>
            <a:cxnLst/>
            <a:rect l="0" t="0" r="0" b="0"/>
            <a:pathLst>
              <a:path w="5611090" h="841663">
                <a:moveTo>
                  <a:pt x="0" y="0"/>
                </a:moveTo>
                <a:lnTo>
                  <a:pt x="5611090" y="0"/>
                </a:lnTo>
                <a:lnTo>
                  <a:pt x="5385088" y="374072"/>
                </a:lnTo>
                <a:lnTo>
                  <a:pt x="4021281" y="374072"/>
                </a:lnTo>
                <a:lnTo>
                  <a:pt x="3086100" y="841663"/>
                </a:lnTo>
                <a:lnTo>
                  <a:pt x="0" y="841663"/>
                </a:lnTo>
                <a:lnTo>
                  <a:pt x="0" y="0"/>
                </a:lnTo>
              </a:path>
            </a:pathLst>
          </a:custGeom>
          <a:solidFill>
            <a:schemeClr val="accent1"/>
          </a:solidFill>
          <a:ln>
            <a:noFill/>
          </a:ln>
        </p:spPr>
        <p:txBody>
          <a:bodyPr rtlCol="0" anchor="ctr"/>
          <a:lstStyle/>
          <a:p>
            <a:pPr algn="ctr"/>
            <a:endParaRPr/>
          </a:p>
        </p:txBody>
      </p:sp>
      <p:sp>
        <p:nvSpPr>
          <p:cNvPr id="13" name="Rounded Rectangle 8">
            <a:extLst>
              <a:ext uri="{FF2B5EF4-FFF2-40B4-BE49-F238E27FC236}">
                <a16:creationId xmlns:a16="http://schemas.microsoft.com/office/drawing/2014/main" id="{04B703CC-054A-1CEF-AFEF-2E1FC8453CA0}"/>
              </a:ext>
            </a:extLst>
          </p:cNvPr>
          <p:cNvSpPr/>
          <p:nvPr/>
        </p:nvSpPr>
        <p:spPr>
          <a:xfrm>
            <a:off x="2443269" y="3781642"/>
            <a:ext cx="5611090" cy="841663"/>
          </a:xfrm>
          <a:custGeom>
            <a:avLst/>
            <a:gdLst/>
            <a:ahLst/>
            <a:cxnLst/>
            <a:rect l="0" t="0" r="0" b="0"/>
            <a:pathLst>
              <a:path w="5611090" h="841663">
                <a:moveTo>
                  <a:pt x="0" y="0"/>
                </a:moveTo>
                <a:lnTo>
                  <a:pt x="5611090" y="0"/>
                </a:lnTo>
                <a:lnTo>
                  <a:pt x="5385088" y="374072"/>
                </a:lnTo>
                <a:lnTo>
                  <a:pt x="4021281" y="374072"/>
                </a:lnTo>
                <a:lnTo>
                  <a:pt x="3086100" y="841663"/>
                </a:lnTo>
                <a:lnTo>
                  <a:pt x="0" y="841663"/>
                </a:lnTo>
                <a:lnTo>
                  <a:pt x="0" y="0"/>
                </a:lnTo>
                <a:close/>
              </a:path>
            </a:pathLst>
          </a:custGeom>
          <a:noFill/>
          <a:ln w="11689">
            <a:solidFill>
              <a:srgbClr val="FFFFFF"/>
            </a:solidFill>
          </a:ln>
        </p:spPr>
        <p:txBody>
          <a:bodyPr rtlCol="0" anchor="ctr"/>
          <a:lstStyle/>
          <a:p>
            <a:pPr algn="ctr"/>
            <a:endParaRPr/>
          </a:p>
        </p:txBody>
      </p:sp>
      <p:sp>
        <p:nvSpPr>
          <p:cNvPr id="14" name="TextBox 13">
            <a:extLst>
              <a:ext uri="{FF2B5EF4-FFF2-40B4-BE49-F238E27FC236}">
                <a16:creationId xmlns:a16="http://schemas.microsoft.com/office/drawing/2014/main" id="{8200AAD5-A717-5059-5A0D-02750FFCBA40}"/>
              </a:ext>
            </a:extLst>
          </p:cNvPr>
          <p:cNvSpPr txBox="1"/>
          <p:nvPr/>
        </p:nvSpPr>
        <p:spPr>
          <a:xfrm>
            <a:off x="3113483" y="2261971"/>
            <a:ext cx="466474" cy="184666"/>
          </a:xfrm>
          <a:prstGeom prst="rect">
            <a:avLst/>
          </a:prstGeom>
          <a:noFill/>
          <a:ln>
            <a:noFill/>
          </a:ln>
        </p:spPr>
        <p:txBody>
          <a:bodyPr wrap="none" lIns="0" tIns="0" rIns="0" bIns="0" anchor="t">
            <a:spAutoFit/>
          </a:bodyPr>
          <a:lstStyle/>
          <a:p>
            <a:pPr algn="l"/>
            <a:r>
              <a:rPr sz="1200" b="1">
                <a:solidFill>
                  <a:srgbClr val="FFFFFF"/>
                </a:solidFill>
              </a:rPr>
              <a:t>Prices</a:t>
            </a:r>
          </a:p>
        </p:txBody>
      </p:sp>
      <p:sp>
        <p:nvSpPr>
          <p:cNvPr id="15" name="TextBox 14">
            <a:extLst>
              <a:ext uri="{FF2B5EF4-FFF2-40B4-BE49-F238E27FC236}">
                <a16:creationId xmlns:a16="http://schemas.microsoft.com/office/drawing/2014/main" id="{172FB1A9-6D68-40F4-9577-55BC8E78624E}"/>
              </a:ext>
            </a:extLst>
          </p:cNvPr>
          <p:cNvSpPr txBox="1"/>
          <p:nvPr/>
        </p:nvSpPr>
        <p:spPr>
          <a:xfrm>
            <a:off x="3113484" y="2538629"/>
            <a:ext cx="1771319" cy="276999"/>
          </a:xfrm>
          <a:prstGeom prst="rect">
            <a:avLst/>
          </a:prstGeom>
          <a:noFill/>
          <a:ln>
            <a:noFill/>
          </a:ln>
        </p:spPr>
        <p:txBody>
          <a:bodyPr wrap="none" lIns="0" tIns="0" rIns="0" bIns="0" anchor="t">
            <a:spAutoFit/>
          </a:bodyPr>
          <a:lstStyle/>
          <a:p>
            <a:pPr algn="l"/>
            <a:r>
              <a:rPr sz="900">
                <a:solidFill>
                  <a:srgbClr val="FFFFFF"/>
                </a:solidFill>
              </a:rPr>
              <a:t>Prices excluded unless regulatory
requirements apply.</a:t>
            </a:r>
          </a:p>
        </p:txBody>
      </p:sp>
      <p:sp>
        <p:nvSpPr>
          <p:cNvPr id="16" name="TextBox 15">
            <a:extLst>
              <a:ext uri="{FF2B5EF4-FFF2-40B4-BE49-F238E27FC236}">
                <a16:creationId xmlns:a16="http://schemas.microsoft.com/office/drawing/2014/main" id="{7B3A3ED0-5580-D112-629C-EC1F88FF0AD0}"/>
              </a:ext>
            </a:extLst>
          </p:cNvPr>
          <p:cNvSpPr txBox="1"/>
          <p:nvPr/>
        </p:nvSpPr>
        <p:spPr>
          <a:xfrm>
            <a:off x="3113484" y="3150393"/>
            <a:ext cx="708527" cy="184666"/>
          </a:xfrm>
          <a:prstGeom prst="rect">
            <a:avLst/>
          </a:prstGeom>
          <a:noFill/>
          <a:ln>
            <a:noFill/>
          </a:ln>
        </p:spPr>
        <p:txBody>
          <a:bodyPr wrap="none" lIns="0" tIns="0" rIns="0" bIns="0" anchor="t">
            <a:spAutoFit/>
          </a:bodyPr>
          <a:lstStyle/>
          <a:p>
            <a:pPr algn="l"/>
            <a:r>
              <a:rPr sz="1200" b="1">
                <a:solidFill>
                  <a:srgbClr val="FFFFFF"/>
                </a:solidFill>
              </a:rPr>
              <a:t>Inventory</a:t>
            </a:r>
          </a:p>
        </p:txBody>
      </p:sp>
      <p:sp>
        <p:nvSpPr>
          <p:cNvPr id="17" name="TextBox 16">
            <a:extLst>
              <a:ext uri="{FF2B5EF4-FFF2-40B4-BE49-F238E27FC236}">
                <a16:creationId xmlns:a16="http://schemas.microsoft.com/office/drawing/2014/main" id="{16684673-7C1E-4A94-B71B-B560EBD1C815}"/>
              </a:ext>
            </a:extLst>
          </p:cNvPr>
          <p:cNvSpPr txBox="1"/>
          <p:nvPr/>
        </p:nvSpPr>
        <p:spPr>
          <a:xfrm>
            <a:off x="3113483" y="3450432"/>
            <a:ext cx="2402902" cy="138499"/>
          </a:xfrm>
          <a:prstGeom prst="rect">
            <a:avLst/>
          </a:prstGeom>
          <a:noFill/>
          <a:ln>
            <a:noFill/>
          </a:ln>
        </p:spPr>
        <p:txBody>
          <a:bodyPr wrap="none" lIns="0" tIns="0" rIns="0" bIns="0" anchor="t">
            <a:spAutoFit/>
          </a:bodyPr>
          <a:lstStyle/>
          <a:p>
            <a:pPr algn="l"/>
            <a:r>
              <a:rPr sz="900">
                <a:solidFill>
                  <a:srgbClr val="FFFFFF"/>
                </a:solidFill>
              </a:rPr>
              <a:t>Inventory levels not available in the catalogue.</a:t>
            </a:r>
          </a:p>
        </p:txBody>
      </p:sp>
      <p:sp>
        <p:nvSpPr>
          <p:cNvPr id="18" name="TextBox 17">
            <a:extLst>
              <a:ext uri="{FF2B5EF4-FFF2-40B4-BE49-F238E27FC236}">
                <a16:creationId xmlns:a16="http://schemas.microsoft.com/office/drawing/2014/main" id="{D5D426BA-50A1-63D1-8D25-165B9AEC3A50}"/>
              </a:ext>
            </a:extLst>
          </p:cNvPr>
          <p:cNvSpPr txBox="1"/>
          <p:nvPr/>
        </p:nvSpPr>
        <p:spPr>
          <a:xfrm>
            <a:off x="8256983" y="3664744"/>
            <a:ext cx="1415452" cy="276999"/>
          </a:xfrm>
          <a:prstGeom prst="rect">
            <a:avLst/>
          </a:prstGeom>
          <a:noFill/>
          <a:ln>
            <a:noFill/>
          </a:ln>
        </p:spPr>
        <p:txBody>
          <a:bodyPr wrap="none" lIns="0" tIns="0" rIns="0" bIns="0" anchor="t">
            <a:spAutoFit/>
          </a:bodyPr>
          <a:lstStyle/>
          <a:p>
            <a:pPr algn="l"/>
            <a:r>
              <a:rPr lang="de-CH" b="1" dirty="0">
                <a:solidFill>
                  <a:schemeClr val="accent1"/>
                </a:solidFill>
              </a:rPr>
              <a:t>Out </a:t>
            </a:r>
            <a:r>
              <a:rPr lang="de-CH" b="1" dirty="0" err="1">
                <a:solidFill>
                  <a:schemeClr val="accent1"/>
                </a:solidFill>
              </a:rPr>
              <a:t>of</a:t>
            </a:r>
            <a:r>
              <a:rPr lang="de-CH" b="1" dirty="0">
                <a:solidFill>
                  <a:schemeClr val="accent1"/>
                </a:solidFill>
              </a:rPr>
              <a:t> </a:t>
            </a:r>
            <a:r>
              <a:rPr lang="de-CH" b="1" dirty="0" err="1">
                <a:solidFill>
                  <a:schemeClr val="accent1"/>
                </a:solidFill>
              </a:rPr>
              <a:t>scope</a:t>
            </a:r>
            <a:endParaRPr b="1" dirty="0">
              <a:solidFill>
                <a:schemeClr val="accent1"/>
              </a:solidFill>
            </a:endParaRPr>
          </a:p>
        </p:txBody>
      </p:sp>
      <p:sp>
        <p:nvSpPr>
          <p:cNvPr id="19" name="TextBox 18">
            <a:extLst>
              <a:ext uri="{FF2B5EF4-FFF2-40B4-BE49-F238E27FC236}">
                <a16:creationId xmlns:a16="http://schemas.microsoft.com/office/drawing/2014/main" id="{71F5FCB4-5F4E-3184-F4EF-73E1721684FB}"/>
              </a:ext>
            </a:extLst>
          </p:cNvPr>
          <p:cNvSpPr txBox="1"/>
          <p:nvPr/>
        </p:nvSpPr>
        <p:spPr>
          <a:xfrm>
            <a:off x="3113484" y="3945298"/>
            <a:ext cx="474489" cy="184666"/>
          </a:xfrm>
          <a:prstGeom prst="rect">
            <a:avLst/>
          </a:prstGeom>
          <a:noFill/>
          <a:ln>
            <a:noFill/>
          </a:ln>
        </p:spPr>
        <p:txBody>
          <a:bodyPr wrap="none" lIns="0" tIns="0" rIns="0" bIns="0" anchor="t">
            <a:spAutoFit/>
          </a:bodyPr>
          <a:lstStyle/>
          <a:p>
            <a:pPr algn="l"/>
            <a:r>
              <a:rPr sz="1200" b="1">
                <a:solidFill>
                  <a:srgbClr val="FFFFFF"/>
                </a:solidFill>
              </a:rPr>
              <a:t>Offers</a:t>
            </a:r>
          </a:p>
        </p:txBody>
      </p:sp>
      <p:sp>
        <p:nvSpPr>
          <p:cNvPr id="20" name="TextBox 19">
            <a:extLst>
              <a:ext uri="{FF2B5EF4-FFF2-40B4-BE49-F238E27FC236}">
                <a16:creationId xmlns:a16="http://schemas.microsoft.com/office/drawing/2014/main" id="{98F7770D-D49A-2507-15AC-0C68040F087B}"/>
              </a:ext>
            </a:extLst>
          </p:cNvPr>
          <p:cNvSpPr txBox="1"/>
          <p:nvPr/>
        </p:nvSpPr>
        <p:spPr>
          <a:xfrm>
            <a:off x="3113484" y="4221957"/>
            <a:ext cx="1760097" cy="276999"/>
          </a:xfrm>
          <a:prstGeom prst="rect">
            <a:avLst/>
          </a:prstGeom>
          <a:noFill/>
          <a:ln>
            <a:noFill/>
          </a:ln>
        </p:spPr>
        <p:txBody>
          <a:bodyPr wrap="none" lIns="0" tIns="0" rIns="0" bIns="0" anchor="t">
            <a:spAutoFit/>
          </a:bodyPr>
          <a:lstStyle/>
          <a:p>
            <a:pPr algn="l"/>
            <a:r>
              <a:rPr sz="900">
                <a:solidFill>
                  <a:srgbClr val="FFFFFF"/>
                </a:solidFill>
              </a:rPr>
              <a:t>Third parties cannot create offers
independently.</a:t>
            </a:r>
          </a:p>
        </p:txBody>
      </p:sp>
      <p:sp>
        <p:nvSpPr>
          <p:cNvPr id="21" name="TextBox 20">
            <a:extLst>
              <a:ext uri="{FF2B5EF4-FFF2-40B4-BE49-F238E27FC236}">
                <a16:creationId xmlns:a16="http://schemas.microsoft.com/office/drawing/2014/main" id="{25496211-4143-C60B-FBAA-38BD231297AB}"/>
              </a:ext>
            </a:extLst>
          </p:cNvPr>
          <p:cNvSpPr txBox="1"/>
          <p:nvPr/>
        </p:nvSpPr>
        <p:spPr>
          <a:xfrm>
            <a:off x="3113484" y="4786961"/>
            <a:ext cx="772647" cy="184666"/>
          </a:xfrm>
          <a:prstGeom prst="rect">
            <a:avLst/>
          </a:prstGeom>
          <a:noFill/>
          <a:ln>
            <a:noFill/>
          </a:ln>
        </p:spPr>
        <p:txBody>
          <a:bodyPr wrap="none" lIns="0" tIns="0" rIns="0" bIns="0" anchor="t">
            <a:spAutoFit/>
          </a:bodyPr>
          <a:lstStyle/>
          <a:p>
            <a:pPr algn="l"/>
            <a:r>
              <a:rPr sz="1200" b="1">
                <a:solidFill>
                  <a:srgbClr val="FFFFFF"/>
                </a:solidFill>
              </a:rPr>
              <a:t>Schedules</a:t>
            </a:r>
          </a:p>
        </p:txBody>
      </p:sp>
      <p:sp>
        <p:nvSpPr>
          <p:cNvPr id="22" name="TextBox 21">
            <a:extLst>
              <a:ext uri="{FF2B5EF4-FFF2-40B4-BE49-F238E27FC236}">
                <a16:creationId xmlns:a16="http://schemas.microsoft.com/office/drawing/2014/main" id="{BFC3096B-9102-CDFC-1477-6B74A5EA216F}"/>
              </a:ext>
            </a:extLst>
          </p:cNvPr>
          <p:cNvSpPr txBox="1"/>
          <p:nvPr/>
        </p:nvSpPr>
        <p:spPr>
          <a:xfrm>
            <a:off x="3113484" y="5063620"/>
            <a:ext cx="1861087" cy="276999"/>
          </a:xfrm>
          <a:prstGeom prst="rect">
            <a:avLst/>
          </a:prstGeom>
          <a:noFill/>
          <a:ln>
            <a:noFill/>
          </a:ln>
        </p:spPr>
        <p:txBody>
          <a:bodyPr wrap="none" lIns="0" tIns="0" rIns="0" bIns="0" anchor="t">
            <a:spAutoFit/>
          </a:bodyPr>
          <a:lstStyle/>
          <a:p>
            <a:pPr algn="l"/>
            <a:r>
              <a:rPr sz="900" dirty="0">
                <a:solidFill>
                  <a:srgbClr val="FFFFFF"/>
                </a:solidFill>
              </a:rPr>
              <a:t>Complete schedules not in Supplier
Catalogue.</a:t>
            </a:r>
          </a:p>
        </p:txBody>
      </p:sp>
      <p:sp>
        <p:nvSpPr>
          <p:cNvPr id="23" name="Rounded Rectangle 19">
            <a:extLst>
              <a:ext uri="{FF2B5EF4-FFF2-40B4-BE49-F238E27FC236}">
                <a16:creationId xmlns:a16="http://schemas.microsoft.com/office/drawing/2014/main" id="{EF64659B-CA21-2260-0FDB-43C5E4343062}"/>
              </a:ext>
            </a:extLst>
          </p:cNvPr>
          <p:cNvSpPr/>
          <p:nvPr/>
        </p:nvSpPr>
        <p:spPr>
          <a:xfrm>
            <a:off x="2644552" y="2354148"/>
            <a:ext cx="348606" cy="348626"/>
          </a:xfrm>
          <a:custGeom>
            <a:avLst/>
            <a:gdLst/>
            <a:ahLst/>
            <a:cxnLst/>
            <a:rect l="0" t="0" r="0" b="0"/>
            <a:pathLst>
              <a:path w="348606" h="348626">
                <a:moveTo>
                  <a:pt x="336447" y="248275"/>
                </a:moveTo>
                <a:lnTo>
                  <a:pt x="248275" y="336447"/>
                </a:lnTo>
                <a:cubicBezTo>
                  <a:pt x="236100" y="348626"/>
                  <a:pt x="216356" y="348626"/>
                  <a:pt x="204181" y="336447"/>
                </a:cubicBezTo>
                <a:lnTo>
                  <a:pt x="40540" y="172790"/>
                </a:lnTo>
                <a:cubicBezTo>
                  <a:pt x="34692" y="166959"/>
                  <a:pt x="31406" y="159040"/>
                  <a:pt x="31406" y="150782"/>
                </a:cubicBezTo>
                <a:lnTo>
                  <a:pt x="31406" y="62485"/>
                </a:lnTo>
                <a:cubicBezTo>
                  <a:pt x="31406" y="45269"/>
                  <a:pt x="45363" y="31313"/>
                  <a:pt x="62579" y="31313"/>
                </a:cubicBezTo>
                <a:lnTo>
                  <a:pt x="150813" y="31313"/>
                </a:lnTo>
                <a:cubicBezTo>
                  <a:pt x="159054" y="31322"/>
                  <a:pt x="166955" y="34595"/>
                  <a:pt x="172790" y="40415"/>
                </a:cubicBezTo>
                <a:lnTo>
                  <a:pt x="336447" y="204212"/>
                </a:lnTo>
                <a:cubicBezTo>
                  <a:pt x="348606" y="216383"/>
                  <a:pt x="348606" y="236104"/>
                  <a:pt x="336447" y="248275"/>
                </a:cubicBezTo>
                <a:close/>
                <a:moveTo>
                  <a:pt x="78056" y="109213"/>
                </a:moveTo>
                <a:cubicBezTo>
                  <a:pt x="78056" y="126429"/>
                  <a:pt x="92013" y="140386"/>
                  <a:pt x="109229" y="140386"/>
                </a:cubicBezTo>
                <a:cubicBezTo>
                  <a:pt x="126445" y="140386"/>
                  <a:pt x="140401" y="126429"/>
                  <a:pt x="140401" y="109213"/>
                </a:cubicBezTo>
                <a:cubicBezTo>
                  <a:pt x="140401" y="91997"/>
                  <a:pt x="126445" y="78040"/>
                  <a:pt x="109229" y="78040"/>
                </a:cubicBezTo>
                <a:cubicBezTo>
                  <a:pt x="92013" y="78040"/>
                  <a:pt x="78056" y="91997"/>
                  <a:pt x="78056" y="109213"/>
                </a:cubicBezTo>
                <a:close/>
                <a:moveTo>
                  <a:pt x="0" y="0"/>
                </a:moveTo>
                <a:lnTo>
                  <a:pt x="101311" y="101311"/>
                </a:lnTo>
                <a:moveTo>
                  <a:pt x="193052" y="164202"/>
                </a:moveTo>
                <a:lnTo>
                  <a:pt x="174349" y="182905"/>
                </a:lnTo>
                <a:cubicBezTo>
                  <a:pt x="167930" y="189209"/>
                  <a:pt x="166436" y="198989"/>
                  <a:pt x="170680" y="206921"/>
                </a:cubicBezTo>
                <a:cubicBezTo>
                  <a:pt x="174923" y="214853"/>
                  <a:pt x="183888" y="219037"/>
                  <a:pt x="192694" y="217195"/>
                </a:cubicBezTo>
                <a:lnTo>
                  <a:pt x="226485" y="210431"/>
                </a:lnTo>
                <a:cubicBezTo>
                  <a:pt x="235290" y="208589"/>
                  <a:pt x="244255" y="212774"/>
                  <a:pt x="248499" y="220706"/>
                </a:cubicBezTo>
                <a:cubicBezTo>
                  <a:pt x="252743" y="228638"/>
                  <a:pt x="251248" y="238418"/>
                  <a:pt x="244830" y="244721"/>
                </a:cubicBezTo>
                <a:lnTo>
                  <a:pt x="226126" y="263425"/>
                </a:lnTo>
                <a:moveTo>
                  <a:pt x="165464" y="169719"/>
                </a:moveTo>
                <a:lnTo>
                  <a:pt x="176484" y="180739"/>
                </a:lnTo>
                <a:moveTo>
                  <a:pt x="242617" y="246856"/>
                </a:moveTo>
                <a:lnTo>
                  <a:pt x="253636" y="257876"/>
                </a:lnTo>
              </a:path>
            </a:pathLst>
          </a:custGeom>
          <a:noFill/>
          <a:ln w="11689">
            <a:solidFill>
              <a:srgbClr val="FFFFFF"/>
            </a:solidFill>
          </a:ln>
        </p:spPr>
        <p:txBody>
          <a:bodyPr rtlCol="0" anchor="ctr"/>
          <a:lstStyle/>
          <a:p>
            <a:pPr algn="ctr"/>
            <a:endParaRPr/>
          </a:p>
        </p:txBody>
      </p:sp>
      <p:sp>
        <p:nvSpPr>
          <p:cNvPr id="24" name="Rounded Rectangle 20">
            <a:extLst>
              <a:ext uri="{FF2B5EF4-FFF2-40B4-BE49-F238E27FC236}">
                <a16:creationId xmlns:a16="http://schemas.microsoft.com/office/drawing/2014/main" id="{4D9BEBC6-F188-1F30-236A-AA18ACDBC6BB}"/>
              </a:ext>
            </a:extLst>
          </p:cNvPr>
          <p:cNvSpPr/>
          <p:nvPr/>
        </p:nvSpPr>
        <p:spPr>
          <a:xfrm>
            <a:off x="2638099" y="3204947"/>
            <a:ext cx="358486" cy="327313"/>
          </a:xfrm>
          <a:custGeom>
            <a:avLst/>
            <a:gdLst/>
            <a:ahLst/>
            <a:cxnLst/>
            <a:rect l="0" t="0" r="0" b="0"/>
            <a:pathLst>
              <a:path w="358486" h="327313">
                <a:moveTo>
                  <a:pt x="288347" y="327313"/>
                </a:moveTo>
                <a:lnTo>
                  <a:pt x="179243" y="327313"/>
                </a:lnTo>
                <a:lnTo>
                  <a:pt x="179243" y="249381"/>
                </a:lnTo>
                <a:lnTo>
                  <a:pt x="280554" y="249381"/>
                </a:lnTo>
                <a:cubicBezTo>
                  <a:pt x="284858" y="249381"/>
                  <a:pt x="288347" y="252870"/>
                  <a:pt x="288347" y="257175"/>
                </a:cubicBezTo>
                <a:close/>
                <a:moveTo>
                  <a:pt x="233795" y="249381"/>
                </a:moveTo>
                <a:lnTo>
                  <a:pt x="233795" y="280554"/>
                </a:lnTo>
                <a:moveTo>
                  <a:pt x="179243" y="327313"/>
                </a:moveTo>
                <a:lnTo>
                  <a:pt x="70138" y="327313"/>
                </a:lnTo>
                <a:lnTo>
                  <a:pt x="70138" y="257175"/>
                </a:lnTo>
                <a:cubicBezTo>
                  <a:pt x="70138" y="252870"/>
                  <a:pt x="73627" y="249381"/>
                  <a:pt x="77931" y="249381"/>
                </a:cubicBezTo>
                <a:lnTo>
                  <a:pt x="179243" y="249381"/>
                </a:lnTo>
                <a:close/>
                <a:moveTo>
                  <a:pt x="124690" y="249381"/>
                </a:moveTo>
                <a:lnTo>
                  <a:pt x="124690" y="280554"/>
                </a:lnTo>
                <a:moveTo>
                  <a:pt x="233795" y="249381"/>
                </a:moveTo>
                <a:lnTo>
                  <a:pt x="124690" y="249381"/>
                </a:lnTo>
                <a:lnTo>
                  <a:pt x="124690" y="179243"/>
                </a:lnTo>
                <a:cubicBezTo>
                  <a:pt x="124690" y="174939"/>
                  <a:pt x="128180" y="171450"/>
                  <a:pt x="132484" y="171450"/>
                </a:cubicBezTo>
                <a:lnTo>
                  <a:pt x="226002" y="171450"/>
                </a:lnTo>
                <a:cubicBezTo>
                  <a:pt x="230306" y="171450"/>
                  <a:pt x="233795" y="174939"/>
                  <a:pt x="233795" y="179243"/>
                </a:cubicBezTo>
                <a:close/>
                <a:moveTo>
                  <a:pt x="179243" y="171450"/>
                </a:moveTo>
                <a:lnTo>
                  <a:pt x="179243" y="202622"/>
                </a:lnTo>
                <a:moveTo>
                  <a:pt x="155863" y="62345"/>
                </a:moveTo>
                <a:lnTo>
                  <a:pt x="202622" y="62345"/>
                </a:lnTo>
                <a:moveTo>
                  <a:pt x="0" y="116897"/>
                </a:moveTo>
                <a:lnTo>
                  <a:pt x="0" y="311727"/>
                </a:lnTo>
                <a:cubicBezTo>
                  <a:pt x="0" y="320335"/>
                  <a:pt x="6978" y="327313"/>
                  <a:pt x="15586" y="327313"/>
                </a:cubicBezTo>
                <a:lnTo>
                  <a:pt x="342900" y="327313"/>
                </a:lnTo>
                <a:cubicBezTo>
                  <a:pt x="351508" y="327313"/>
                  <a:pt x="358486" y="320335"/>
                  <a:pt x="358486" y="311727"/>
                </a:cubicBezTo>
                <a:lnTo>
                  <a:pt x="358486" y="116897"/>
                </a:lnTo>
                <a:moveTo>
                  <a:pt x="358486" y="116897"/>
                </a:moveTo>
                <a:lnTo>
                  <a:pt x="0" y="116897"/>
                </a:lnTo>
                <a:cubicBezTo>
                  <a:pt x="0" y="116897"/>
                  <a:pt x="7793" y="0"/>
                  <a:pt x="179243" y="0"/>
                </a:cubicBezTo>
                <a:cubicBezTo>
                  <a:pt x="350693" y="0"/>
                  <a:pt x="358486" y="116897"/>
                  <a:pt x="358486" y="116897"/>
                </a:cubicBezTo>
                <a:close/>
              </a:path>
            </a:pathLst>
          </a:custGeom>
          <a:noFill/>
          <a:ln w="11689">
            <a:solidFill>
              <a:srgbClr val="FFFFFF"/>
            </a:solidFill>
          </a:ln>
        </p:spPr>
        <p:txBody>
          <a:bodyPr rtlCol="0" anchor="ctr"/>
          <a:lstStyle/>
          <a:p>
            <a:pPr algn="ctr"/>
            <a:endParaRPr/>
          </a:p>
        </p:txBody>
      </p:sp>
      <p:sp>
        <p:nvSpPr>
          <p:cNvPr id="25" name="Rounded Rectangle 21">
            <a:extLst>
              <a:ext uri="{FF2B5EF4-FFF2-40B4-BE49-F238E27FC236}">
                <a16:creationId xmlns:a16="http://schemas.microsoft.com/office/drawing/2014/main" id="{F4DA708F-8B6C-E86F-F2B4-C89F40E538B3}"/>
              </a:ext>
            </a:extLst>
          </p:cNvPr>
          <p:cNvSpPr/>
          <p:nvPr/>
        </p:nvSpPr>
        <p:spPr>
          <a:xfrm>
            <a:off x="2638099" y="4031023"/>
            <a:ext cx="358486" cy="359706"/>
          </a:xfrm>
          <a:custGeom>
            <a:avLst/>
            <a:gdLst/>
            <a:ahLst/>
            <a:cxnLst/>
            <a:rect l="0" t="0" r="0" b="0"/>
            <a:pathLst>
              <a:path w="358486" h="359706">
                <a:moveTo>
                  <a:pt x="311727" y="314065"/>
                </a:moveTo>
                <a:lnTo>
                  <a:pt x="250472" y="326378"/>
                </a:lnTo>
                <a:moveTo>
                  <a:pt x="257175" y="257175"/>
                </a:moveTo>
                <a:lnTo>
                  <a:pt x="228340" y="269020"/>
                </a:lnTo>
                <a:cubicBezTo>
                  <a:pt x="223743" y="270891"/>
                  <a:pt x="218597" y="270891"/>
                  <a:pt x="214000" y="269020"/>
                </a:cubicBezTo>
                <a:cubicBezTo>
                  <a:pt x="207263" y="266185"/>
                  <a:pt x="202795" y="259686"/>
                  <a:pt x="202560" y="252381"/>
                </a:cubicBezTo>
                <a:cubicBezTo>
                  <a:pt x="202326" y="245076"/>
                  <a:pt x="206368" y="238303"/>
                  <a:pt x="212909" y="235042"/>
                </a:cubicBezTo>
                <a:lnTo>
                  <a:pt x="241588" y="221014"/>
                </a:lnTo>
                <a:cubicBezTo>
                  <a:pt x="245149" y="219158"/>
                  <a:pt x="249107" y="218196"/>
                  <a:pt x="253122" y="218209"/>
                </a:cubicBezTo>
                <a:cubicBezTo>
                  <a:pt x="256153" y="218194"/>
                  <a:pt x="259162" y="218722"/>
                  <a:pt x="262006" y="219767"/>
                </a:cubicBezTo>
                <a:lnTo>
                  <a:pt x="314688" y="239874"/>
                </a:lnTo>
                <a:moveTo>
                  <a:pt x="140277" y="327313"/>
                </a:moveTo>
                <a:lnTo>
                  <a:pt x="162098" y="327313"/>
                </a:lnTo>
                <a:lnTo>
                  <a:pt x="198414" y="354901"/>
                </a:lnTo>
                <a:cubicBezTo>
                  <a:pt x="202173" y="359219"/>
                  <a:pt x="208708" y="359706"/>
                  <a:pt x="213065" y="355992"/>
                </a:cubicBezTo>
                <a:lnTo>
                  <a:pt x="267617" y="312350"/>
                </a:lnTo>
                <a:cubicBezTo>
                  <a:pt x="272022" y="308630"/>
                  <a:pt x="272709" y="302099"/>
                  <a:pt x="269176" y="297543"/>
                </a:cubicBezTo>
                <a:lnTo>
                  <a:pt x="239250" y="264500"/>
                </a:lnTo>
                <a:moveTo>
                  <a:pt x="210415" y="236601"/>
                </a:moveTo>
                <a:lnTo>
                  <a:pt x="206519" y="233327"/>
                </a:lnTo>
                <a:cubicBezTo>
                  <a:pt x="202612" y="230383"/>
                  <a:pt x="197851" y="228796"/>
                  <a:pt x="192959" y="228807"/>
                </a:cubicBezTo>
                <a:cubicBezTo>
                  <a:pt x="190068" y="228820"/>
                  <a:pt x="187208" y="229402"/>
                  <a:pt x="184542" y="230522"/>
                </a:cubicBezTo>
                <a:lnTo>
                  <a:pt x="140277" y="249381"/>
                </a:lnTo>
                <a:moveTo>
                  <a:pt x="93518" y="233795"/>
                </a:moveTo>
                <a:lnTo>
                  <a:pt x="124690" y="233795"/>
                </a:lnTo>
                <a:cubicBezTo>
                  <a:pt x="133299" y="233795"/>
                  <a:pt x="140277" y="240773"/>
                  <a:pt x="140277" y="249381"/>
                </a:cubicBezTo>
                <a:lnTo>
                  <a:pt x="140277" y="327313"/>
                </a:lnTo>
                <a:cubicBezTo>
                  <a:pt x="140277" y="335921"/>
                  <a:pt x="133299" y="342900"/>
                  <a:pt x="124690" y="342900"/>
                </a:cubicBezTo>
                <a:lnTo>
                  <a:pt x="93518" y="342900"/>
                </a:lnTo>
                <a:moveTo>
                  <a:pt x="358486" y="342900"/>
                </a:moveTo>
                <a:lnTo>
                  <a:pt x="327313" y="342900"/>
                </a:lnTo>
                <a:cubicBezTo>
                  <a:pt x="318705" y="342900"/>
                  <a:pt x="311727" y="335921"/>
                  <a:pt x="311727" y="327313"/>
                </a:cubicBezTo>
                <a:lnTo>
                  <a:pt x="311727" y="249381"/>
                </a:lnTo>
                <a:cubicBezTo>
                  <a:pt x="311727" y="240773"/>
                  <a:pt x="318705" y="233795"/>
                  <a:pt x="327313" y="233795"/>
                </a:cubicBezTo>
                <a:lnTo>
                  <a:pt x="358486" y="233795"/>
                </a:lnTo>
                <a:moveTo>
                  <a:pt x="257175" y="0"/>
                </a:moveTo>
                <a:lnTo>
                  <a:pt x="46759" y="0"/>
                </a:lnTo>
                <a:cubicBezTo>
                  <a:pt x="20934" y="0"/>
                  <a:pt x="0" y="20934"/>
                  <a:pt x="0" y="46759"/>
                </a:cubicBezTo>
                <a:lnTo>
                  <a:pt x="0" y="350693"/>
                </a:lnTo>
                <a:cubicBezTo>
                  <a:pt x="0" y="354997"/>
                  <a:pt x="3489" y="358486"/>
                  <a:pt x="7793" y="358486"/>
                </a:cubicBezTo>
                <a:lnTo>
                  <a:pt x="54552" y="358486"/>
                </a:lnTo>
                <a:moveTo>
                  <a:pt x="171450" y="62345"/>
                </a:moveTo>
                <a:lnTo>
                  <a:pt x="46759" y="62345"/>
                </a:lnTo>
                <a:moveTo>
                  <a:pt x="171450" y="109104"/>
                </a:moveTo>
                <a:lnTo>
                  <a:pt x="46759" y="109104"/>
                </a:lnTo>
                <a:moveTo>
                  <a:pt x="101311" y="155863"/>
                </a:moveTo>
                <a:lnTo>
                  <a:pt x="46759" y="155863"/>
                </a:lnTo>
                <a:moveTo>
                  <a:pt x="218209" y="194829"/>
                </a:moveTo>
                <a:lnTo>
                  <a:pt x="218209" y="38965"/>
                </a:lnTo>
                <a:cubicBezTo>
                  <a:pt x="218209" y="17445"/>
                  <a:pt x="235654" y="0"/>
                  <a:pt x="257175" y="0"/>
                </a:cubicBezTo>
                <a:cubicBezTo>
                  <a:pt x="278684" y="0"/>
                  <a:pt x="296140" y="17456"/>
                  <a:pt x="296140" y="46759"/>
                </a:cubicBezTo>
                <a:lnTo>
                  <a:pt x="218209" y="46759"/>
                </a:lnTo>
              </a:path>
            </a:pathLst>
          </a:custGeom>
          <a:noFill/>
          <a:ln w="11689">
            <a:solidFill>
              <a:srgbClr val="FFFFFF"/>
            </a:solidFill>
          </a:ln>
        </p:spPr>
        <p:txBody>
          <a:bodyPr rtlCol="0" anchor="ctr"/>
          <a:lstStyle/>
          <a:p>
            <a:pPr algn="ctr"/>
            <a:endParaRPr/>
          </a:p>
        </p:txBody>
      </p:sp>
      <p:sp>
        <p:nvSpPr>
          <p:cNvPr id="26" name="Rounded Rectangle 22">
            <a:extLst>
              <a:ext uri="{FF2B5EF4-FFF2-40B4-BE49-F238E27FC236}">
                <a16:creationId xmlns:a16="http://schemas.microsoft.com/office/drawing/2014/main" id="{BECDBF8C-9BAC-DF1D-487C-39D6D578FB00}"/>
              </a:ext>
            </a:extLst>
          </p:cNvPr>
          <p:cNvSpPr/>
          <p:nvPr/>
        </p:nvSpPr>
        <p:spPr>
          <a:xfrm>
            <a:off x="2638099" y="4872702"/>
            <a:ext cx="358486" cy="358486"/>
          </a:xfrm>
          <a:custGeom>
            <a:avLst/>
            <a:gdLst/>
            <a:ahLst/>
            <a:cxnLst/>
            <a:rect l="0" t="0" r="0" b="0"/>
            <a:pathLst>
              <a:path w="358486" h="358486">
                <a:moveTo>
                  <a:pt x="15586" y="31172"/>
                </a:moveTo>
                <a:lnTo>
                  <a:pt x="342900" y="31172"/>
                </a:lnTo>
                <a:cubicBezTo>
                  <a:pt x="342900" y="31172"/>
                  <a:pt x="358486" y="31172"/>
                  <a:pt x="358486" y="46759"/>
                </a:cubicBezTo>
                <a:lnTo>
                  <a:pt x="358486" y="342899"/>
                </a:lnTo>
                <a:cubicBezTo>
                  <a:pt x="358486" y="342899"/>
                  <a:pt x="358486" y="358486"/>
                  <a:pt x="342900" y="358486"/>
                </a:cubicBezTo>
                <a:lnTo>
                  <a:pt x="15586" y="358486"/>
                </a:lnTo>
                <a:cubicBezTo>
                  <a:pt x="15586" y="358486"/>
                  <a:pt x="0" y="358486"/>
                  <a:pt x="0" y="342899"/>
                </a:cubicBezTo>
                <a:lnTo>
                  <a:pt x="0" y="46759"/>
                </a:lnTo>
                <a:cubicBezTo>
                  <a:pt x="0" y="46759"/>
                  <a:pt x="0" y="31172"/>
                  <a:pt x="15586" y="31172"/>
                </a:cubicBezTo>
                <a:moveTo>
                  <a:pt x="77931" y="0"/>
                </a:moveTo>
                <a:lnTo>
                  <a:pt x="77931" y="77931"/>
                </a:lnTo>
                <a:moveTo>
                  <a:pt x="280554" y="0"/>
                </a:moveTo>
                <a:lnTo>
                  <a:pt x="280554" y="77931"/>
                </a:lnTo>
                <a:moveTo>
                  <a:pt x="0" y="109104"/>
                </a:moveTo>
                <a:lnTo>
                  <a:pt x="358486" y="109104"/>
                </a:lnTo>
                <a:moveTo>
                  <a:pt x="101311" y="233795"/>
                </a:moveTo>
                <a:cubicBezTo>
                  <a:pt x="101311" y="276836"/>
                  <a:pt x="136202" y="311727"/>
                  <a:pt x="179243" y="311727"/>
                </a:cubicBezTo>
                <a:cubicBezTo>
                  <a:pt x="222283" y="311727"/>
                  <a:pt x="257175" y="276836"/>
                  <a:pt x="257175" y="233795"/>
                </a:cubicBezTo>
                <a:cubicBezTo>
                  <a:pt x="257175" y="190754"/>
                  <a:pt x="222283" y="155863"/>
                  <a:pt x="179243" y="155863"/>
                </a:cubicBezTo>
                <a:cubicBezTo>
                  <a:pt x="136202" y="155863"/>
                  <a:pt x="101311" y="190754"/>
                  <a:pt x="101311" y="233795"/>
                </a:cubicBezTo>
                <a:moveTo>
                  <a:pt x="202622" y="210415"/>
                </a:moveTo>
                <a:lnTo>
                  <a:pt x="155863" y="257174"/>
                </a:lnTo>
                <a:moveTo>
                  <a:pt x="155863" y="210415"/>
                </a:moveTo>
                <a:lnTo>
                  <a:pt x="202622" y="257174"/>
                </a:lnTo>
              </a:path>
            </a:pathLst>
          </a:custGeom>
          <a:noFill/>
          <a:ln w="11689">
            <a:solidFill>
              <a:srgbClr val="FFFFFF"/>
            </a:solidFill>
          </a:ln>
        </p:spPr>
        <p:txBody>
          <a:bodyPr rtlCol="0" anchor="ctr"/>
          <a:lstStyle/>
          <a:p>
            <a:pPr algn="ctr"/>
            <a:endParaRPr/>
          </a:p>
        </p:txBody>
      </p:sp>
    </p:spTree>
    <p:extLst>
      <p:ext uri="{BB962C8B-B14F-4D97-AF65-F5344CB8AC3E}">
        <p14:creationId xmlns:p14="http://schemas.microsoft.com/office/powerpoint/2010/main" val="17565266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EF1C9-BD28-9CFA-C805-4882FD5263FC}"/>
              </a:ext>
            </a:extLst>
          </p:cNvPr>
          <p:cNvSpPr>
            <a:spLocks noGrp="1"/>
          </p:cNvSpPr>
          <p:nvPr>
            <p:ph type="title"/>
          </p:nvPr>
        </p:nvSpPr>
        <p:spPr/>
        <p:txBody>
          <a:bodyPr/>
          <a:lstStyle/>
          <a:p>
            <a:r>
              <a:rPr lang="en-US" dirty="0"/>
              <a:t>Product Definition vs Taxonomy Definitions</a:t>
            </a:r>
            <a:br>
              <a:rPr lang="en-US" dirty="0"/>
            </a:br>
            <a:endParaRPr lang="en-US" dirty="0"/>
          </a:p>
        </p:txBody>
      </p:sp>
      <p:sp>
        <p:nvSpPr>
          <p:cNvPr id="3" name="Date Placeholder 2">
            <a:extLst>
              <a:ext uri="{FF2B5EF4-FFF2-40B4-BE49-F238E27FC236}">
                <a16:creationId xmlns:a16="http://schemas.microsoft.com/office/drawing/2014/main" id="{7E05178E-0226-55D0-EE44-662155418951}"/>
              </a:ext>
            </a:extLst>
          </p:cNvPr>
          <p:cNvSpPr>
            <a:spLocks noGrp="1"/>
          </p:cNvSpPr>
          <p:nvPr>
            <p:ph type="dt" sz="half" idx="10"/>
          </p:nvPr>
        </p:nvSpPr>
        <p:spPr/>
        <p:txBody>
          <a:bodyPr/>
          <a:lstStyle/>
          <a:p>
            <a:r>
              <a:rPr lang="de-DE"/>
              <a:t>02 November 2025</a:t>
            </a:r>
            <a:endParaRPr lang="en-US"/>
          </a:p>
        </p:txBody>
      </p:sp>
      <p:sp>
        <p:nvSpPr>
          <p:cNvPr id="4" name="Footer Placeholder 3">
            <a:extLst>
              <a:ext uri="{FF2B5EF4-FFF2-40B4-BE49-F238E27FC236}">
                <a16:creationId xmlns:a16="http://schemas.microsoft.com/office/drawing/2014/main" id="{E60E6C51-3A60-DED7-4984-17C26E662D28}"/>
              </a:ext>
            </a:extLst>
          </p:cNvPr>
          <p:cNvSpPr>
            <a:spLocks noGrp="1"/>
          </p:cNvSpPr>
          <p:nvPr>
            <p:ph type="ftr" sz="quarter" idx="11"/>
          </p:nvPr>
        </p:nvSpPr>
        <p:spPr/>
        <p:txBody>
          <a:bodyPr/>
          <a:lstStyle/>
          <a:p>
            <a:r>
              <a:rPr lang="en-US"/>
              <a:t>APMWG</a:t>
            </a:r>
          </a:p>
        </p:txBody>
      </p:sp>
      <p:sp>
        <p:nvSpPr>
          <p:cNvPr id="5" name="Slide Number Placeholder 4">
            <a:extLst>
              <a:ext uri="{FF2B5EF4-FFF2-40B4-BE49-F238E27FC236}">
                <a16:creationId xmlns:a16="http://schemas.microsoft.com/office/drawing/2014/main" id="{CE6D7D85-AC31-0F22-FBE5-A2EE6DAE93C0}"/>
              </a:ext>
            </a:extLst>
          </p:cNvPr>
          <p:cNvSpPr>
            <a:spLocks noGrp="1"/>
          </p:cNvSpPr>
          <p:nvPr>
            <p:ph type="sldNum" sz="quarter" idx="12"/>
          </p:nvPr>
        </p:nvSpPr>
        <p:spPr/>
        <p:txBody>
          <a:bodyPr/>
          <a:lstStyle/>
          <a:p>
            <a:fld id="{1A9E565A-6679-4A67-8FB7-14EA342FD6E1}" type="slidenum">
              <a:rPr lang="en-US" smtClean="0"/>
              <a:pPr/>
              <a:t>8</a:t>
            </a:fld>
            <a:endParaRPr lang="en-US"/>
          </a:p>
        </p:txBody>
      </p:sp>
      <p:sp>
        <p:nvSpPr>
          <p:cNvPr id="6" name="Rounded Rectangle 1">
            <a:extLst>
              <a:ext uri="{FF2B5EF4-FFF2-40B4-BE49-F238E27FC236}">
                <a16:creationId xmlns:a16="http://schemas.microsoft.com/office/drawing/2014/main" id="{D88A6434-FF00-556A-90CC-9B9F21B633C6}"/>
              </a:ext>
            </a:extLst>
          </p:cNvPr>
          <p:cNvSpPr/>
          <p:nvPr/>
        </p:nvSpPr>
        <p:spPr>
          <a:xfrm>
            <a:off x="7452783" y="7619402"/>
            <a:ext cx="1670102" cy="1080654"/>
          </a:xfrm>
          <a:custGeom>
            <a:avLst/>
            <a:gdLst/>
            <a:ahLst/>
            <a:cxnLst/>
            <a:rect l="0" t="0" r="0" b="0"/>
            <a:pathLst>
              <a:path w="1670102" h="1080654">
                <a:moveTo>
                  <a:pt x="98241" y="0"/>
                </a:moveTo>
                <a:cubicBezTo>
                  <a:pt x="43987" y="0"/>
                  <a:pt x="0" y="43987"/>
                  <a:pt x="0" y="98241"/>
                </a:cubicBezTo>
                <a:moveTo>
                  <a:pt x="0" y="98241"/>
                </a:moveTo>
                <a:lnTo>
                  <a:pt x="0" y="982413"/>
                </a:lnTo>
                <a:moveTo>
                  <a:pt x="98241" y="0"/>
                </a:moveTo>
                <a:lnTo>
                  <a:pt x="1670102" y="0"/>
                </a:lnTo>
                <a:moveTo>
                  <a:pt x="98241" y="1080654"/>
                </a:moveTo>
                <a:lnTo>
                  <a:pt x="1670102" y="1080654"/>
                </a:lnTo>
                <a:moveTo>
                  <a:pt x="0" y="982413"/>
                </a:moveTo>
                <a:cubicBezTo>
                  <a:pt x="0" y="1036588"/>
                  <a:pt x="44066" y="1080654"/>
                  <a:pt x="98241" y="1080654"/>
                </a:cubicBezTo>
              </a:path>
            </a:pathLst>
          </a:custGeom>
          <a:noFill/>
          <a:ln w="12279">
            <a:solidFill>
              <a:srgbClr val="484848"/>
            </a:solidFill>
          </a:ln>
        </p:spPr>
        <p:txBody>
          <a:bodyPr rtlCol="0" anchor="ctr"/>
          <a:lstStyle/>
          <a:p>
            <a:pPr algn="ctr"/>
            <a:endParaRPr/>
          </a:p>
        </p:txBody>
      </p:sp>
      <p:sp>
        <p:nvSpPr>
          <p:cNvPr id="7" name="Rounded Rectangle 2">
            <a:extLst>
              <a:ext uri="{FF2B5EF4-FFF2-40B4-BE49-F238E27FC236}">
                <a16:creationId xmlns:a16="http://schemas.microsoft.com/office/drawing/2014/main" id="{146C752D-9082-CBD7-E736-B4B45613DF77}"/>
              </a:ext>
            </a:extLst>
          </p:cNvPr>
          <p:cNvSpPr/>
          <p:nvPr/>
        </p:nvSpPr>
        <p:spPr>
          <a:xfrm>
            <a:off x="8926403" y="7619402"/>
            <a:ext cx="3045480" cy="1080654"/>
          </a:xfrm>
          <a:custGeom>
            <a:avLst/>
            <a:gdLst/>
            <a:ahLst/>
            <a:cxnLst/>
            <a:rect l="0" t="0" r="0" b="0"/>
            <a:pathLst>
              <a:path w="3045480" h="1080654">
                <a:moveTo>
                  <a:pt x="3045480" y="98241"/>
                </a:moveTo>
                <a:cubicBezTo>
                  <a:pt x="3045480" y="43984"/>
                  <a:pt x="3001496" y="0"/>
                  <a:pt x="2947239" y="0"/>
                </a:cubicBezTo>
                <a:moveTo>
                  <a:pt x="2947239" y="1080654"/>
                </a:moveTo>
                <a:lnTo>
                  <a:pt x="0" y="1080654"/>
                </a:lnTo>
                <a:moveTo>
                  <a:pt x="2947239" y="1080654"/>
                </a:moveTo>
                <a:cubicBezTo>
                  <a:pt x="3001496" y="1080654"/>
                  <a:pt x="3045480" y="1036670"/>
                  <a:pt x="3045480" y="982413"/>
                </a:cubicBezTo>
                <a:moveTo>
                  <a:pt x="3045480" y="98241"/>
                </a:moveTo>
                <a:lnTo>
                  <a:pt x="3045480" y="982413"/>
                </a:lnTo>
                <a:moveTo>
                  <a:pt x="2947239" y="0"/>
                </a:moveTo>
                <a:lnTo>
                  <a:pt x="0" y="0"/>
                </a:lnTo>
                <a:moveTo>
                  <a:pt x="0" y="0"/>
                </a:moveTo>
                <a:lnTo>
                  <a:pt x="0" y="1080654"/>
                </a:lnTo>
              </a:path>
            </a:pathLst>
          </a:custGeom>
          <a:noFill/>
          <a:ln w="12279">
            <a:solidFill>
              <a:srgbClr val="484848"/>
            </a:solidFill>
          </a:ln>
        </p:spPr>
        <p:txBody>
          <a:bodyPr rtlCol="0" anchor="ctr"/>
          <a:lstStyle/>
          <a:p>
            <a:pPr algn="ctr"/>
            <a:endParaRPr/>
          </a:p>
        </p:txBody>
      </p:sp>
      <p:sp>
        <p:nvSpPr>
          <p:cNvPr id="8" name="Rounded Rectangle 3">
            <a:extLst>
              <a:ext uri="{FF2B5EF4-FFF2-40B4-BE49-F238E27FC236}">
                <a16:creationId xmlns:a16="http://schemas.microsoft.com/office/drawing/2014/main" id="{B0FF0D99-0D9F-FBEB-2EBE-FDA9B8E85C73}"/>
              </a:ext>
            </a:extLst>
          </p:cNvPr>
          <p:cNvSpPr/>
          <p:nvPr/>
        </p:nvSpPr>
        <p:spPr>
          <a:xfrm>
            <a:off x="9024645" y="7717644"/>
            <a:ext cx="1375378" cy="884171"/>
          </a:xfrm>
          <a:custGeom>
            <a:avLst/>
            <a:gdLst/>
            <a:ahLst/>
            <a:cxnLst/>
            <a:rect l="0" t="0" r="0" b="0"/>
            <a:pathLst>
              <a:path w="1375378" h="884171">
                <a:moveTo>
                  <a:pt x="0" y="98241"/>
                </a:moveTo>
                <a:lnTo>
                  <a:pt x="0" y="49120"/>
                </a:lnTo>
                <a:cubicBezTo>
                  <a:pt x="0" y="21992"/>
                  <a:pt x="21992" y="0"/>
                  <a:pt x="49120" y="0"/>
                </a:cubicBezTo>
                <a:lnTo>
                  <a:pt x="98241" y="0"/>
                </a:lnTo>
                <a:moveTo>
                  <a:pt x="0" y="98241"/>
                </a:moveTo>
                <a:lnTo>
                  <a:pt x="0" y="785930"/>
                </a:lnTo>
                <a:moveTo>
                  <a:pt x="1375378" y="98241"/>
                </a:moveTo>
                <a:lnTo>
                  <a:pt x="1375378" y="785930"/>
                </a:lnTo>
                <a:moveTo>
                  <a:pt x="98241" y="0"/>
                </a:moveTo>
                <a:lnTo>
                  <a:pt x="1277137" y="0"/>
                </a:lnTo>
                <a:moveTo>
                  <a:pt x="0" y="785930"/>
                </a:moveTo>
                <a:lnTo>
                  <a:pt x="0" y="835051"/>
                </a:lnTo>
                <a:cubicBezTo>
                  <a:pt x="0" y="862179"/>
                  <a:pt x="21992" y="884171"/>
                  <a:pt x="49120" y="884171"/>
                </a:cubicBezTo>
                <a:lnTo>
                  <a:pt x="98241" y="884171"/>
                </a:lnTo>
                <a:moveTo>
                  <a:pt x="1375378" y="98241"/>
                </a:moveTo>
                <a:lnTo>
                  <a:pt x="1375378" y="49120"/>
                </a:lnTo>
                <a:cubicBezTo>
                  <a:pt x="1375378" y="21992"/>
                  <a:pt x="1353386" y="0"/>
                  <a:pt x="1326257" y="0"/>
                </a:cubicBezTo>
                <a:lnTo>
                  <a:pt x="1277137" y="0"/>
                </a:lnTo>
                <a:moveTo>
                  <a:pt x="1277137" y="884171"/>
                </a:moveTo>
                <a:lnTo>
                  <a:pt x="98241" y="884171"/>
                </a:lnTo>
                <a:moveTo>
                  <a:pt x="1375378" y="785930"/>
                </a:moveTo>
                <a:lnTo>
                  <a:pt x="1375378" y="835051"/>
                </a:lnTo>
                <a:cubicBezTo>
                  <a:pt x="1375378" y="862179"/>
                  <a:pt x="1353386" y="884171"/>
                  <a:pt x="1326257" y="884171"/>
                </a:cubicBezTo>
                <a:lnTo>
                  <a:pt x="1277137" y="884171"/>
                </a:lnTo>
              </a:path>
            </a:pathLst>
          </a:custGeom>
          <a:noFill/>
          <a:ln w="12279">
            <a:solidFill>
              <a:srgbClr val="E0CB15"/>
            </a:solidFill>
          </a:ln>
        </p:spPr>
        <p:txBody>
          <a:bodyPr rtlCol="0" anchor="ctr"/>
          <a:lstStyle/>
          <a:p>
            <a:pPr algn="ctr"/>
            <a:endParaRPr/>
          </a:p>
        </p:txBody>
      </p:sp>
      <p:sp>
        <p:nvSpPr>
          <p:cNvPr id="9" name="Rounded Rectangle 4">
            <a:extLst>
              <a:ext uri="{FF2B5EF4-FFF2-40B4-BE49-F238E27FC236}">
                <a16:creationId xmlns:a16="http://schemas.microsoft.com/office/drawing/2014/main" id="{E3654244-04E1-D35A-6ABE-0ED14B429FB0}"/>
              </a:ext>
            </a:extLst>
          </p:cNvPr>
          <p:cNvSpPr/>
          <p:nvPr/>
        </p:nvSpPr>
        <p:spPr>
          <a:xfrm>
            <a:off x="10498264" y="7717644"/>
            <a:ext cx="1375378" cy="884171"/>
          </a:xfrm>
          <a:custGeom>
            <a:avLst/>
            <a:gdLst/>
            <a:ahLst/>
            <a:cxnLst/>
            <a:rect l="0" t="0" r="0" b="0"/>
            <a:pathLst>
              <a:path w="1375378" h="884171">
                <a:moveTo>
                  <a:pt x="0" y="98241"/>
                </a:moveTo>
                <a:lnTo>
                  <a:pt x="0" y="49120"/>
                </a:lnTo>
                <a:cubicBezTo>
                  <a:pt x="0" y="21992"/>
                  <a:pt x="21992" y="0"/>
                  <a:pt x="49120" y="0"/>
                </a:cubicBezTo>
                <a:lnTo>
                  <a:pt x="98241" y="0"/>
                </a:lnTo>
                <a:moveTo>
                  <a:pt x="0" y="98241"/>
                </a:moveTo>
                <a:lnTo>
                  <a:pt x="0" y="785930"/>
                </a:lnTo>
                <a:moveTo>
                  <a:pt x="1375378" y="98241"/>
                </a:moveTo>
                <a:lnTo>
                  <a:pt x="1375378" y="785930"/>
                </a:lnTo>
                <a:moveTo>
                  <a:pt x="98241" y="0"/>
                </a:moveTo>
                <a:lnTo>
                  <a:pt x="1277137" y="0"/>
                </a:lnTo>
                <a:moveTo>
                  <a:pt x="0" y="785930"/>
                </a:moveTo>
                <a:lnTo>
                  <a:pt x="0" y="835051"/>
                </a:lnTo>
                <a:cubicBezTo>
                  <a:pt x="0" y="862179"/>
                  <a:pt x="21992" y="884171"/>
                  <a:pt x="49120" y="884171"/>
                </a:cubicBezTo>
                <a:lnTo>
                  <a:pt x="98241" y="884171"/>
                </a:lnTo>
                <a:moveTo>
                  <a:pt x="1375378" y="98241"/>
                </a:moveTo>
                <a:lnTo>
                  <a:pt x="1375378" y="49120"/>
                </a:lnTo>
                <a:cubicBezTo>
                  <a:pt x="1375378" y="21992"/>
                  <a:pt x="1353386" y="0"/>
                  <a:pt x="1326257" y="0"/>
                </a:cubicBezTo>
                <a:lnTo>
                  <a:pt x="1277137" y="0"/>
                </a:lnTo>
                <a:moveTo>
                  <a:pt x="1277137" y="884171"/>
                </a:moveTo>
                <a:lnTo>
                  <a:pt x="98241" y="884171"/>
                </a:lnTo>
                <a:moveTo>
                  <a:pt x="1375378" y="785930"/>
                </a:moveTo>
                <a:lnTo>
                  <a:pt x="1375378" y="835051"/>
                </a:lnTo>
                <a:cubicBezTo>
                  <a:pt x="1375378" y="862179"/>
                  <a:pt x="1353386" y="884171"/>
                  <a:pt x="1326257" y="884171"/>
                </a:cubicBezTo>
                <a:lnTo>
                  <a:pt x="1277137" y="884171"/>
                </a:lnTo>
              </a:path>
            </a:pathLst>
          </a:custGeom>
          <a:noFill/>
          <a:ln w="12279">
            <a:solidFill>
              <a:srgbClr val="E0CB15"/>
            </a:solidFill>
          </a:ln>
        </p:spPr>
        <p:txBody>
          <a:bodyPr rtlCol="0" anchor="ctr"/>
          <a:lstStyle/>
          <a:p>
            <a:pPr algn="ctr"/>
            <a:endParaRPr/>
          </a:p>
        </p:txBody>
      </p:sp>
      <p:sp>
        <p:nvSpPr>
          <p:cNvPr id="10" name="Rounded Rectangle 5">
            <a:extLst>
              <a:ext uri="{FF2B5EF4-FFF2-40B4-BE49-F238E27FC236}">
                <a16:creationId xmlns:a16="http://schemas.microsoft.com/office/drawing/2014/main" id="{29748784-6AA6-9A44-9269-4BF239A8461C}"/>
              </a:ext>
            </a:extLst>
          </p:cNvPr>
          <p:cNvSpPr/>
          <p:nvPr/>
        </p:nvSpPr>
        <p:spPr>
          <a:xfrm>
            <a:off x="7452783" y="8798298"/>
            <a:ext cx="1670102" cy="1080654"/>
          </a:xfrm>
          <a:custGeom>
            <a:avLst/>
            <a:gdLst/>
            <a:ahLst/>
            <a:cxnLst/>
            <a:rect l="0" t="0" r="0" b="0"/>
            <a:pathLst>
              <a:path w="1670102" h="1080654">
                <a:moveTo>
                  <a:pt x="98241" y="0"/>
                </a:moveTo>
                <a:cubicBezTo>
                  <a:pt x="43987" y="0"/>
                  <a:pt x="0" y="43987"/>
                  <a:pt x="0" y="98241"/>
                </a:cubicBezTo>
                <a:moveTo>
                  <a:pt x="0" y="98241"/>
                </a:moveTo>
                <a:lnTo>
                  <a:pt x="0" y="982413"/>
                </a:lnTo>
                <a:moveTo>
                  <a:pt x="98241" y="0"/>
                </a:moveTo>
                <a:lnTo>
                  <a:pt x="1670102" y="0"/>
                </a:lnTo>
                <a:moveTo>
                  <a:pt x="98241" y="1080654"/>
                </a:moveTo>
                <a:lnTo>
                  <a:pt x="1670102" y="1080654"/>
                </a:lnTo>
                <a:moveTo>
                  <a:pt x="0" y="982413"/>
                </a:moveTo>
                <a:cubicBezTo>
                  <a:pt x="0" y="1036588"/>
                  <a:pt x="44066" y="1080654"/>
                  <a:pt x="98241" y="1080654"/>
                </a:cubicBezTo>
              </a:path>
            </a:pathLst>
          </a:custGeom>
          <a:noFill/>
          <a:ln w="12279">
            <a:solidFill>
              <a:srgbClr val="484848"/>
            </a:solidFill>
          </a:ln>
        </p:spPr>
        <p:txBody>
          <a:bodyPr rtlCol="0" anchor="ctr"/>
          <a:lstStyle/>
          <a:p>
            <a:pPr algn="ctr"/>
            <a:endParaRPr/>
          </a:p>
        </p:txBody>
      </p:sp>
      <p:sp>
        <p:nvSpPr>
          <p:cNvPr id="11" name="Rounded Rectangle 6">
            <a:extLst>
              <a:ext uri="{FF2B5EF4-FFF2-40B4-BE49-F238E27FC236}">
                <a16:creationId xmlns:a16="http://schemas.microsoft.com/office/drawing/2014/main" id="{A0601111-DD17-3E7B-B6E5-9E738666D90C}"/>
              </a:ext>
            </a:extLst>
          </p:cNvPr>
          <p:cNvSpPr/>
          <p:nvPr/>
        </p:nvSpPr>
        <p:spPr>
          <a:xfrm>
            <a:off x="8926403" y="8798298"/>
            <a:ext cx="3045480" cy="1080654"/>
          </a:xfrm>
          <a:custGeom>
            <a:avLst/>
            <a:gdLst/>
            <a:ahLst/>
            <a:cxnLst/>
            <a:rect l="0" t="0" r="0" b="0"/>
            <a:pathLst>
              <a:path w="3045480" h="1080654">
                <a:moveTo>
                  <a:pt x="3045480" y="98241"/>
                </a:moveTo>
                <a:cubicBezTo>
                  <a:pt x="3045480" y="43984"/>
                  <a:pt x="3001496" y="0"/>
                  <a:pt x="2947239" y="0"/>
                </a:cubicBezTo>
                <a:moveTo>
                  <a:pt x="2947239" y="1080654"/>
                </a:moveTo>
                <a:lnTo>
                  <a:pt x="0" y="1080654"/>
                </a:lnTo>
                <a:moveTo>
                  <a:pt x="2947239" y="1080654"/>
                </a:moveTo>
                <a:cubicBezTo>
                  <a:pt x="3001496" y="1080654"/>
                  <a:pt x="3045480" y="1036670"/>
                  <a:pt x="3045480" y="982413"/>
                </a:cubicBezTo>
                <a:moveTo>
                  <a:pt x="3045480" y="98241"/>
                </a:moveTo>
                <a:lnTo>
                  <a:pt x="3045480" y="982413"/>
                </a:lnTo>
                <a:moveTo>
                  <a:pt x="2947239" y="0"/>
                </a:moveTo>
                <a:lnTo>
                  <a:pt x="0" y="0"/>
                </a:lnTo>
                <a:moveTo>
                  <a:pt x="0" y="0"/>
                </a:moveTo>
                <a:lnTo>
                  <a:pt x="0" y="1080654"/>
                </a:lnTo>
              </a:path>
            </a:pathLst>
          </a:custGeom>
          <a:noFill/>
          <a:ln w="12279">
            <a:solidFill>
              <a:srgbClr val="484848"/>
            </a:solidFill>
          </a:ln>
        </p:spPr>
        <p:txBody>
          <a:bodyPr rtlCol="0" anchor="ctr"/>
          <a:lstStyle/>
          <a:p>
            <a:pPr algn="ctr"/>
            <a:endParaRPr/>
          </a:p>
        </p:txBody>
      </p:sp>
      <p:sp>
        <p:nvSpPr>
          <p:cNvPr id="12" name="Rounded Rectangle 7">
            <a:extLst>
              <a:ext uri="{FF2B5EF4-FFF2-40B4-BE49-F238E27FC236}">
                <a16:creationId xmlns:a16="http://schemas.microsoft.com/office/drawing/2014/main" id="{F17821E1-5F52-403E-58EA-34148FAAFA87}"/>
              </a:ext>
            </a:extLst>
          </p:cNvPr>
          <p:cNvSpPr/>
          <p:nvPr/>
        </p:nvSpPr>
        <p:spPr>
          <a:xfrm>
            <a:off x="9024645" y="8896540"/>
            <a:ext cx="1375378" cy="884171"/>
          </a:xfrm>
          <a:custGeom>
            <a:avLst/>
            <a:gdLst/>
            <a:ahLst/>
            <a:cxnLst/>
            <a:rect l="0" t="0" r="0" b="0"/>
            <a:pathLst>
              <a:path w="1375378" h="884171">
                <a:moveTo>
                  <a:pt x="0" y="98241"/>
                </a:moveTo>
                <a:lnTo>
                  <a:pt x="0" y="49120"/>
                </a:lnTo>
                <a:cubicBezTo>
                  <a:pt x="0" y="21992"/>
                  <a:pt x="21992" y="0"/>
                  <a:pt x="49120" y="0"/>
                </a:cubicBezTo>
                <a:lnTo>
                  <a:pt x="98241" y="0"/>
                </a:lnTo>
                <a:moveTo>
                  <a:pt x="0" y="98241"/>
                </a:moveTo>
                <a:lnTo>
                  <a:pt x="0" y="785930"/>
                </a:lnTo>
                <a:moveTo>
                  <a:pt x="1375378" y="98241"/>
                </a:moveTo>
                <a:lnTo>
                  <a:pt x="1375378" y="785930"/>
                </a:lnTo>
                <a:moveTo>
                  <a:pt x="98241" y="0"/>
                </a:moveTo>
                <a:lnTo>
                  <a:pt x="1277137" y="0"/>
                </a:lnTo>
                <a:moveTo>
                  <a:pt x="0" y="785930"/>
                </a:moveTo>
                <a:lnTo>
                  <a:pt x="0" y="835051"/>
                </a:lnTo>
                <a:cubicBezTo>
                  <a:pt x="0" y="862179"/>
                  <a:pt x="21992" y="884171"/>
                  <a:pt x="49120" y="884171"/>
                </a:cubicBezTo>
                <a:lnTo>
                  <a:pt x="98241" y="884171"/>
                </a:lnTo>
                <a:moveTo>
                  <a:pt x="1375378" y="98241"/>
                </a:moveTo>
                <a:lnTo>
                  <a:pt x="1375378" y="49120"/>
                </a:lnTo>
                <a:cubicBezTo>
                  <a:pt x="1375378" y="21992"/>
                  <a:pt x="1353386" y="0"/>
                  <a:pt x="1326257" y="0"/>
                </a:cubicBezTo>
                <a:lnTo>
                  <a:pt x="1277137" y="0"/>
                </a:lnTo>
                <a:moveTo>
                  <a:pt x="1277137" y="884171"/>
                </a:moveTo>
                <a:lnTo>
                  <a:pt x="98241" y="884171"/>
                </a:lnTo>
                <a:moveTo>
                  <a:pt x="1375378" y="785930"/>
                </a:moveTo>
                <a:lnTo>
                  <a:pt x="1375378" y="835051"/>
                </a:lnTo>
                <a:cubicBezTo>
                  <a:pt x="1375378" y="862179"/>
                  <a:pt x="1353386" y="884171"/>
                  <a:pt x="1326257" y="884171"/>
                </a:cubicBezTo>
                <a:lnTo>
                  <a:pt x="1277137" y="884171"/>
                </a:lnTo>
              </a:path>
            </a:pathLst>
          </a:custGeom>
          <a:noFill/>
          <a:ln w="12279">
            <a:solidFill>
              <a:srgbClr val="DE8431"/>
            </a:solidFill>
          </a:ln>
        </p:spPr>
        <p:txBody>
          <a:bodyPr rtlCol="0" anchor="ctr"/>
          <a:lstStyle/>
          <a:p>
            <a:pPr algn="ctr"/>
            <a:endParaRPr/>
          </a:p>
        </p:txBody>
      </p:sp>
      <p:sp>
        <p:nvSpPr>
          <p:cNvPr id="13" name="Rounded Rectangle 8">
            <a:extLst>
              <a:ext uri="{FF2B5EF4-FFF2-40B4-BE49-F238E27FC236}">
                <a16:creationId xmlns:a16="http://schemas.microsoft.com/office/drawing/2014/main" id="{666F45F4-86EB-B111-539E-C0D90726F808}"/>
              </a:ext>
            </a:extLst>
          </p:cNvPr>
          <p:cNvSpPr/>
          <p:nvPr/>
        </p:nvSpPr>
        <p:spPr>
          <a:xfrm>
            <a:off x="10498264" y="8896540"/>
            <a:ext cx="1375378" cy="884171"/>
          </a:xfrm>
          <a:custGeom>
            <a:avLst/>
            <a:gdLst/>
            <a:ahLst/>
            <a:cxnLst/>
            <a:rect l="0" t="0" r="0" b="0"/>
            <a:pathLst>
              <a:path w="1375378" h="884171">
                <a:moveTo>
                  <a:pt x="0" y="98241"/>
                </a:moveTo>
                <a:lnTo>
                  <a:pt x="0" y="49120"/>
                </a:lnTo>
                <a:cubicBezTo>
                  <a:pt x="0" y="21992"/>
                  <a:pt x="21992" y="0"/>
                  <a:pt x="49120" y="0"/>
                </a:cubicBezTo>
                <a:lnTo>
                  <a:pt x="98241" y="0"/>
                </a:lnTo>
                <a:moveTo>
                  <a:pt x="0" y="98241"/>
                </a:moveTo>
                <a:lnTo>
                  <a:pt x="0" y="785930"/>
                </a:lnTo>
                <a:moveTo>
                  <a:pt x="1375378" y="98241"/>
                </a:moveTo>
                <a:lnTo>
                  <a:pt x="1375378" y="785930"/>
                </a:lnTo>
                <a:moveTo>
                  <a:pt x="98241" y="0"/>
                </a:moveTo>
                <a:lnTo>
                  <a:pt x="1277137" y="0"/>
                </a:lnTo>
                <a:moveTo>
                  <a:pt x="0" y="785930"/>
                </a:moveTo>
                <a:lnTo>
                  <a:pt x="0" y="835051"/>
                </a:lnTo>
                <a:cubicBezTo>
                  <a:pt x="0" y="862179"/>
                  <a:pt x="21992" y="884171"/>
                  <a:pt x="49120" y="884171"/>
                </a:cubicBezTo>
                <a:lnTo>
                  <a:pt x="98241" y="884171"/>
                </a:lnTo>
                <a:moveTo>
                  <a:pt x="1375378" y="98241"/>
                </a:moveTo>
                <a:lnTo>
                  <a:pt x="1375378" y="49120"/>
                </a:lnTo>
                <a:cubicBezTo>
                  <a:pt x="1375378" y="21992"/>
                  <a:pt x="1353386" y="0"/>
                  <a:pt x="1326257" y="0"/>
                </a:cubicBezTo>
                <a:lnTo>
                  <a:pt x="1277137" y="0"/>
                </a:lnTo>
                <a:moveTo>
                  <a:pt x="1277137" y="884171"/>
                </a:moveTo>
                <a:lnTo>
                  <a:pt x="98241" y="884171"/>
                </a:lnTo>
                <a:moveTo>
                  <a:pt x="1375378" y="785930"/>
                </a:moveTo>
                <a:lnTo>
                  <a:pt x="1375378" y="835051"/>
                </a:lnTo>
                <a:cubicBezTo>
                  <a:pt x="1375378" y="862179"/>
                  <a:pt x="1353386" y="884171"/>
                  <a:pt x="1326257" y="884171"/>
                </a:cubicBezTo>
                <a:lnTo>
                  <a:pt x="1277137" y="884171"/>
                </a:lnTo>
              </a:path>
            </a:pathLst>
          </a:custGeom>
          <a:noFill/>
          <a:ln w="12279">
            <a:solidFill>
              <a:srgbClr val="DE8431"/>
            </a:solidFill>
          </a:ln>
        </p:spPr>
        <p:txBody>
          <a:bodyPr rtlCol="0" anchor="ctr"/>
          <a:lstStyle/>
          <a:p>
            <a:pPr algn="ctr"/>
            <a:endParaRPr/>
          </a:p>
        </p:txBody>
      </p:sp>
      <p:sp>
        <p:nvSpPr>
          <p:cNvPr id="14" name="Rounded Rectangle 9">
            <a:extLst>
              <a:ext uri="{FF2B5EF4-FFF2-40B4-BE49-F238E27FC236}">
                <a16:creationId xmlns:a16="http://schemas.microsoft.com/office/drawing/2014/main" id="{0D170150-3367-1F72-4A46-9BC4BCAB3297}"/>
              </a:ext>
            </a:extLst>
          </p:cNvPr>
          <p:cNvSpPr/>
          <p:nvPr/>
        </p:nvSpPr>
        <p:spPr>
          <a:xfrm>
            <a:off x="7452783" y="9977194"/>
            <a:ext cx="1670102" cy="1080654"/>
          </a:xfrm>
          <a:custGeom>
            <a:avLst/>
            <a:gdLst/>
            <a:ahLst/>
            <a:cxnLst/>
            <a:rect l="0" t="0" r="0" b="0"/>
            <a:pathLst>
              <a:path w="1670102" h="1080654">
                <a:moveTo>
                  <a:pt x="98241" y="0"/>
                </a:moveTo>
                <a:cubicBezTo>
                  <a:pt x="43987" y="0"/>
                  <a:pt x="0" y="43987"/>
                  <a:pt x="0" y="98241"/>
                </a:cubicBezTo>
                <a:moveTo>
                  <a:pt x="0" y="98241"/>
                </a:moveTo>
                <a:lnTo>
                  <a:pt x="0" y="982413"/>
                </a:lnTo>
                <a:moveTo>
                  <a:pt x="98241" y="0"/>
                </a:moveTo>
                <a:lnTo>
                  <a:pt x="1670102" y="0"/>
                </a:lnTo>
                <a:moveTo>
                  <a:pt x="98241" y="1080654"/>
                </a:moveTo>
                <a:lnTo>
                  <a:pt x="1670102" y="1080654"/>
                </a:lnTo>
                <a:moveTo>
                  <a:pt x="0" y="982413"/>
                </a:moveTo>
                <a:cubicBezTo>
                  <a:pt x="0" y="1036588"/>
                  <a:pt x="44066" y="1080654"/>
                  <a:pt x="98241" y="1080654"/>
                </a:cubicBezTo>
              </a:path>
            </a:pathLst>
          </a:custGeom>
          <a:noFill/>
          <a:ln w="12279">
            <a:solidFill>
              <a:srgbClr val="484848"/>
            </a:solidFill>
          </a:ln>
        </p:spPr>
        <p:txBody>
          <a:bodyPr rtlCol="0" anchor="ctr"/>
          <a:lstStyle/>
          <a:p>
            <a:pPr algn="ctr"/>
            <a:endParaRPr/>
          </a:p>
        </p:txBody>
      </p:sp>
      <p:sp>
        <p:nvSpPr>
          <p:cNvPr id="15" name="Rounded Rectangle 10">
            <a:extLst>
              <a:ext uri="{FF2B5EF4-FFF2-40B4-BE49-F238E27FC236}">
                <a16:creationId xmlns:a16="http://schemas.microsoft.com/office/drawing/2014/main" id="{8CE7CC75-4932-44C4-7684-2296A9A39DE8}"/>
              </a:ext>
            </a:extLst>
          </p:cNvPr>
          <p:cNvSpPr/>
          <p:nvPr/>
        </p:nvSpPr>
        <p:spPr>
          <a:xfrm>
            <a:off x="8926403" y="9977194"/>
            <a:ext cx="3045480" cy="1080654"/>
          </a:xfrm>
          <a:custGeom>
            <a:avLst/>
            <a:gdLst/>
            <a:ahLst/>
            <a:cxnLst/>
            <a:rect l="0" t="0" r="0" b="0"/>
            <a:pathLst>
              <a:path w="3045480" h="1080654">
                <a:moveTo>
                  <a:pt x="3045480" y="98241"/>
                </a:moveTo>
                <a:cubicBezTo>
                  <a:pt x="3045480" y="43984"/>
                  <a:pt x="3001496" y="0"/>
                  <a:pt x="2947239" y="0"/>
                </a:cubicBezTo>
                <a:moveTo>
                  <a:pt x="2947239" y="1080654"/>
                </a:moveTo>
                <a:lnTo>
                  <a:pt x="0" y="1080654"/>
                </a:lnTo>
                <a:moveTo>
                  <a:pt x="2947239" y="1080654"/>
                </a:moveTo>
                <a:cubicBezTo>
                  <a:pt x="3001496" y="1080654"/>
                  <a:pt x="3045480" y="1036670"/>
                  <a:pt x="3045480" y="982413"/>
                </a:cubicBezTo>
                <a:moveTo>
                  <a:pt x="3045480" y="98241"/>
                </a:moveTo>
                <a:lnTo>
                  <a:pt x="3045480" y="982413"/>
                </a:lnTo>
                <a:moveTo>
                  <a:pt x="2947239" y="0"/>
                </a:moveTo>
                <a:lnTo>
                  <a:pt x="0" y="0"/>
                </a:lnTo>
                <a:moveTo>
                  <a:pt x="0" y="0"/>
                </a:moveTo>
                <a:lnTo>
                  <a:pt x="0" y="1080654"/>
                </a:lnTo>
              </a:path>
            </a:pathLst>
          </a:custGeom>
          <a:noFill/>
          <a:ln w="12279">
            <a:solidFill>
              <a:srgbClr val="484848"/>
            </a:solidFill>
          </a:ln>
        </p:spPr>
        <p:txBody>
          <a:bodyPr rtlCol="0" anchor="ctr"/>
          <a:lstStyle/>
          <a:p>
            <a:pPr algn="ctr"/>
            <a:endParaRPr/>
          </a:p>
        </p:txBody>
      </p:sp>
      <p:sp>
        <p:nvSpPr>
          <p:cNvPr id="16" name="Rounded Rectangle 11">
            <a:extLst>
              <a:ext uri="{FF2B5EF4-FFF2-40B4-BE49-F238E27FC236}">
                <a16:creationId xmlns:a16="http://schemas.microsoft.com/office/drawing/2014/main" id="{DFE55994-5E88-C22C-2E69-2557128CDE42}"/>
              </a:ext>
            </a:extLst>
          </p:cNvPr>
          <p:cNvSpPr/>
          <p:nvPr/>
        </p:nvSpPr>
        <p:spPr>
          <a:xfrm>
            <a:off x="9024645" y="10075436"/>
            <a:ext cx="1375378" cy="884171"/>
          </a:xfrm>
          <a:custGeom>
            <a:avLst/>
            <a:gdLst/>
            <a:ahLst/>
            <a:cxnLst/>
            <a:rect l="0" t="0" r="0" b="0"/>
            <a:pathLst>
              <a:path w="1375378" h="884171">
                <a:moveTo>
                  <a:pt x="0" y="98241"/>
                </a:moveTo>
                <a:lnTo>
                  <a:pt x="0" y="49120"/>
                </a:lnTo>
                <a:cubicBezTo>
                  <a:pt x="0" y="21992"/>
                  <a:pt x="21992" y="0"/>
                  <a:pt x="49120" y="0"/>
                </a:cubicBezTo>
                <a:lnTo>
                  <a:pt x="98241" y="0"/>
                </a:lnTo>
                <a:moveTo>
                  <a:pt x="0" y="98241"/>
                </a:moveTo>
                <a:lnTo>
                  <a:pt x="0" y="785930"/>
                </a:lnTo>
                <a:moveTo>
                  <a:pt x="1375378" y="98241"/>
                </a:moveTo>
                <a:lnTo>
                  <a:pt x="1375378" y="785930"/>
                </a:lnTo>
                <a:moveTo>
                  <a:pt x="98241" y="0"/>
                </a:moveTo>
                <a:lnTo>
                  <a:pt x="1277137" y="0"/>
                </a:lnTo>
                <a:moveTo>
                  <a:pt x="0" y="785930"/>
                </a:moveTo>
                <a:lnTo>
                  <a:pt x="0" y="835051"/>
                </a:lnTo>
                <a:cubicBezTo>
                  <a:pt x="0" y="862179"/>
                  <a:pt x="21992" y="884171"/>
                  <a:pt x="49120" y="884171"/>
                </a:cubicBezTo>
                <a:lnTo>
                  <a:pt x="98241" y="884171"/>
                </a:lnTo>
                <a:moveTo>
                  <a:pt x="1375378" y="98241"/>
                </a:moveTo>
                <a:lnTo>
                  <a:pt x="1375378" y="49120"/>
                </a:lnTo>
                <a:cubicBezTo>
                  <a:pt x="1375378" y="21992"/>
                  <a:pt x="1353386" y="0"/>
                  <a:pt x="1326257" y="0"/>
                </a:cubicBezTo>
                <a:lnTo>
                  <a:pt x="1277137" y="0"/>
                </a:lnTo>
                <a:moveTo>
                  <a:pt x="1277137" y="884171"/>
                </a:moveTo>
                <a:lnTo>
                  <a:pt x="98241" y="884171"/>
                </a:lnTo>
                <a:moveTo>
                  <a:pt x="1375378" y="785930"/>
                </a:moveTo>
                <a:lnTo>
                  <a:pt x="1375378" y="835051"/>
                </a:lnTo>
                <a:cubicBezTo>
                  <a:pt x="1375378" y="862179"/>
                  <a:pt x="1353386" y="884171"/>
                  <a:pt x="1326257" y="884171"/>
                </a:cubicBezTo>
                <a:lnTo>
                  <a:pt x="1277137" y="884171"/>
                </a:lnTo>
              </a:path>
            </a:pathLst>
          </a:custGeom>
          <a:noFill/>
          <a:ln w="12279">
            <a:solidFill>
              <a:srgbClr val="E55753"/>
            </a:solidFill>
          </a:ln>
        </p:spPr>
        <p:txBody>
          <a:bodyPr rtlCol="0" anchor="ctr"/>
          <a:lstStyle/>
          <a:p>
            <a:pPr algn="ctr"/>
            <a:endParaRPr/>
          </a:p>
        </p:txBody>
      </p:sp>
      <p:sp>
        <p:nvSpPr>
          <p:cNvPr id="17" name="Rounded Rectangle 12">
            <a:extLst>
              <a:ext uri="{FF2B5EF4-FFF2-40B4-BE49-F238E27FC236}">
                <a16:creationId xmlns:a16="http://schemas.microsoft.com/office/drawing/2014/main" id="{64328A14-3423-B3EE-DA94-59CCA3E46577}"/>
              </a:ext>
            </a:extLst>
          </p:cNvPr>
          <p:cNvSpPr/>
          <p:nvPr/>
        </p:nvSpPr>
        <p:spPr>
          <a:xfrm>
            <a:off x="10498264" y="10075436"/>
            <a:ext cx="1375378" cy="884171"/>
          </a:xfrm>
          <a:custGeom>
            <a:avLst/>
            <a:gdLst/>
            <a:ahLst/>
            <a:cxnLst/>
            <a:rect l="0" t="0" r="0" b="0"/>
            <a:pathLst>
              <a:path w="1375378" h="884171">
                <a:moveTo>
                  <a:pt x="0" y="98241"/>
                </a:moveTo>
                <a:lnTo>
                  <a:pt x="0" y="49120"/>
                </a:lnTo>
                <a:cubicBezTo>
                  <a:pt x="0" y="21992"/>
                  <a:pt x="21992" y="0"/>
                  <a:pt x="49120" y="0"/>
                </a:cubicBezTo>
                <a:lnTo>
                  <a:pt x="98241" y="0"/>
                </a:lnTo>
                <a:moveTo>
                  <a:pt x="0" y="98241"/>
                </a:moveTo>
                <a:lnTo>
                  <a:pt x="0" y="785930"/>
                </a:lnTo>
                <a:moveTo>
                  <a:pt x="1375378" y="98241"/>
                </a:moveTo>
                <a:lnTo>
                  <a:pt x="1375378" y="785930"/>
                </a:lnTo>
                <a:moveTo>
                  <a:pt x="98241" y="0"/>
                </a:moveTo>
                <a:lnTo>
                  <a:pt x="1277137" y="0"/>
                </a:lnTo>
                <a:moveTo>
                  <a:pt x="0" y="785930"/>
                </a:moveTo>
                <a:lnTo>
                  <a:pt x="0" y="835051"/>
                </a:lnTo>
                <a:cubicBezTo>
                  <a:pt x="0" y="862179"/>
                  <a:pt x="21992" y="884171"/>
                  <a:pt x="49120" y="884171"/>
                </a:cubicBezTo>
                <a:lnTo>
                  <a:pt x="98241" y="884171"/>
                </a:lnTo>
                <a:moveTo>
                  <a:pt x="1375378" y="98241"/>
                </a:moveTo>
                <a:lnTo>
                  <a:pt x="1375378" y="49120"/>
                </a:lnTo>
                <a:cubicBezTo>
                  <a:pt x="1375378" y="21992"/>
                  <a:pt x="1353386" y="0"/>
                  <a:pt x="1326257" y="0"/>
                </a:cubicBezTo>
                <a:lnTo>
                  <a:pt x="1277137" y="0"/>
                </a:lnTo>
                <a:moveTo>
                  <a:pt x="1277137" y="884171"/>
                </a:moveTo>
                <a:lnTo>
                  <a:pt x="98241" y="884171"/>
                </a:lnTo>
                <a:moveTo>
                  <a:pt x="1375378" y="785930"/>
                </a:moveTo>
                <a:lnTo>
                  <a:pt x="1375378" y="835051"/>
                </a:lnTo>
                <a:cubicBezTo>
                  <a:pt x="1375378" y="862179"/>
                  <a:pt x="1353386" y="884171"/>
                  <a:pt x="1326257" y="884171"/>
                </a:cubicBezTo>
                <a:lnTo>
                  <a:pt x="1277137" y="884171"/>
                </a:lnTo>
              </a:path>
            </a:pathLst>
          </a:custGeom>
          <a:noFill/>
          <a:ln w="12279">
            <a:solidFill>
              <a:srgbClr val="E55753"/>
            </a:solidFill>
          </a:ln>
        </p:spPr>
        <p:txBody>
          <a:bodyPr rtlCol="0" anchor="ctr"/>
          <a:lstStyle/>
          <a:p>
            <a:pPr algn="ctr"/>
            <a:endParaRPr/>
          </a:p>
        </p:txBody>
      </p:sp>
      <p:sp>
        <p:nvSpPr>
          <p:cNvPr id="18" name="TextBox 17">
            <a:extLst>
              <a:ext uri="{FF2B5EF4-FFF2-40B4-BE49-F238E27FC236}">
                <a16:creationId xmlns:a16="http://schemas.microsoft.com/office/drawing/2014/main" id="{61033EE3-5F2C-C5D4-FC6E-B2848B86CC7A}"/>
              </a:ext>
            </a:extLst>
          </p:cNvPr>
          <p:cNvSpPr txBox="1"/>
          <p:nvPr/>
        </p:nvSpPr>
        <p:spPr>
          <a:xfrm>
            <a:off x="8061353" y="8343933"/>
            <a:ext cx="256480" cy="138499"/>
          </a:xfrm>
          <a:prstGeom prst="rect">
            <a:avLst/>
          </a:prstGeom>
          <a:noFill/>
          <a:ln>
            <a:noFill/>
          </a:ln>
        </p:spPr>
        <p:txBody>
          <a:bodyPr wrap="none" lIns="0" tIns="0" rIns="0" bIns="0" anchor="t">
            <a:spAutoFit/>
          </a:bodyPr>
          <a:lstStyle/>
          <a:p>
            <a:pPr algn="ctr"/>
            <a:r>
              <a:rPr sz="900" b="1">
                <a:solidFill>
                  <a:srgbClr val="E0CB15"/>
                </a:solidFill>
                <a:latin typeface="Roboto"/>
              </a:rPr>
              <a:t>Meal</a:t>
            </a:r>
          </a:p>
        </p:txBody>
      </p:sp>
      <p:sp>
        <p:nvSpPr>
          <p:cNvPr id="19" name="TextBox 18">
            <a:extLst>
              <a:ext uri="{FF2B5EF4-FFF2-40B4-BE49-F238E27FC236}">
                <a16:creationId xmlns:a16="http://schemas.microsoft.com/office/drawing/2014/main" id="{8FF29C60-B0C5-54BC-37E6-6E763F9BBDCF}"/>
              </a:ext>
            </a:extLst>
          </p:cNvPr>
          <p:cNvSpPr txBox="1"/>
          <p:nvPr/>
        </p:nvSpPr>
        <p:spPr>
          <a:xfrm>
            <a:off x="10987201" y="8098329"/>
            <a:ext cx="397545" cy="276999"/>
          </a:xfrm>
          <a:prstGeom prst="rect">
            <a:avLst/>
          </a:prstGeom>
          <a:noFill/>
          <a:ln>
            <a:noFill/>
          </a:ln>
        </p:spPr>
        <p:txBody>
          <a:bodyPr wrap="none" lIns="0" tIns="0" rIns="0" bIns="0" anchor="t">
            <a:spAutoFit/>
          </a:bodyPr>
          <a:lstStyle/>
          <a:p>
            <a:pPr algn="ctr"/>
            <a:r>
              <a:rPr sz="900" dirty="0">
                <a:solidFill>
                  <a:srgbClr val="484848"/>
                </a:solidFill>
                <a:latin typeface="Roboto"/>
              </a:rPr>
              <a:t>Taste</a:t>
            </a:r>
            <a:r>
              <a:rPr lang="de-CH" sz="900" dirty="0">
                <a:solidFill>
                  <a:srgbClr val="484848"/>
                </a:solidFill>
                <a:latin typeface="Roboto"/>
              </a:rPr>
              <a:t>: </a:t>
            </a:r>
            <a:br>
              <a:rPr lang="de-CH" sz="900" dirty="0">
                <a:solidFill>
                  <a:srgbClr val="484848"/>
                </a:solidFill>
                <a:latin typeface="Roboto"/>
              </a:rPr>
            </a:br>
            <a:r>
              <a:rPr lang="de-CH" sz="900" dirty="0">
                <a:solidFill>
                  <a:srgbClr val="484848"/>
                </a:solidFill>
                <a:latin typeface="Roboto"/>
              </a:rPr>
              <a:t>#spicey</a:t>
            </a:r>
            <a:endParaRPr sz="900" dirty="0">
              <a:solidFill>
                <a:srgbClr val="484848"/>
              </a:solidFill>
              <a:latin typeface="Roboto"/>
            </a:endParaRPr>
          </a:p>
        </p:txBody>
      </p:sp>
      <p:sp>
        <p:nvSpPr>
          <p:cNvPr id="20" name="TextBox 19">
            <a:extLst>
              <a:ext uri="{FF2B5EF4-FFF2-40B4-BE49-F238E27FC236}">
                <a16:creationId xmlns:a16="http://schemas.microsoft.com/office/drawing/2014/main" id="{9CEF1B4B-C5CC-92EA-3BC4-65564DA25D94}"/>
              </a:ext>
            </a:extLst>
          </p:cNvPr>
          <p:cNvSpPr txBox="1"/>
          <p:nvPr/>
        </p:nvSpPr>
        <p:spPr>
          <a:xfrm>
            <a:off x="9549654" y="8098329"/>
            <a:ext cx="325410" cy="276999"/>
          </a:xfrm>
          <a:prstGeom prst="rect">
            <a:avLst/>
          </a:prstGeom>
          <a:noFill/>
          <a:ln>
            <a:noFill/>
          </a:ln>
        </p:spPr>
        <p:txBody>
          <a:bodyPr wrap="none" lIns="0" tIns="0" rIns="0" bIns="0" anchor="t">
            <a:spAutoFit/>
          </a:bodyPr>
          <a:lstStyle/>
          <a:p>
            <a:pPr algn="ctr"/>
            <a:r>
              <a:rPr sz="900" dirty="0">
                <a:solidFill>
                  <a:srgbClr val="484848"/>
                </a:solidFill>
                <a:latin typeface="Roboto"/>
              </a:rPr>
              <a:t>Type</a:t>
            </a:r>
            <a:r>
              <a:rPr lang="de-CH" sz="900" dirty="0">
                <a:solidFill>
                  <a:srgbClr val="484848"/>
                </a:solidFill>
                <a:latin typeface="Roboto"/>
              </a:rPr>
              <a:t>: </a:t>
            </a:r>
            <a:br>
              <a:rPr lang="de-CH" sz="900" dirty="0">
                <a:solidFill>
                  <a:srgbClr val="484848"/>
                </a:solidFill>
                <a:latin typeface="Roboto"/>
              </a:rPr>
            </a:br>
            <a:r>
              <a:rPr lang="de-CH" sz="900" dirty="0">
                <a:solidFill>
                  <a:srgbClr val="484848"/>
                </a:solidFill>
                <a:latin typeface="Roboto"/>
              </a:rPr>
              <a:t>Vegan</a:t>
            </a:r>
            <a:endParaRPr sz="900" dirty="0">
              <a:solidFill>
                <a:srgbClr val="484848"/>
              </a:solidFill>
              <a:latin typeface="Roboto"/>
            </a:endParaRPr>
          </a:p>
        </p:txBody>
      </p:sp>
      <p:sp>
        <p:nvSpPr>
          <p:cNvPr id="21" name="TextBox 20">
            <a:extLst>
              <a:ext uri="{FF2B5EF4-FFF2-40B4-BE49-F238E27FC236}">
                <a16:creationId xmlns:a16="http://schemas.microsoft.com/office/drawing/2014/main" id="{821FA57D-E8F5-90D1-08B8-6119F8ED577E}"/>
              </a:ext>
            </a:extLst>
          </p:cNvPr>
          <p:cNvSpPr txBox="1"/>
          <p:nvPr/>
        </p:nvSpPr>
        <p:spPr>
          <a:xfrm>
            <a:off x="9422998" y="9277225"/>
            <a:ext cx="578684" cy="276999"/>
          </a:xfrm>
          <a:prstGeom prst="rect">
            <a:avLst/>
          </a:prstGeom>
          <a:noFill/>
          <a:ln>
            <a:noFill/>
          </a:ln>
        </p:spPr>
        <p:txBody>
          <a:bodyPr wrap="none" lIns="0" tIns="0" rIns="0" bIns="0" anchor="t">
            <a:spAutoFit/>
          </a:bodyPr>
          <a:lstStyle/>
          <a:p>
            <a:pPr algn="ctr"/>
            <a:r>
              <a:rPr sz="900" dirty="0">
                <a:solidFill>
                  <a:srgbClr val="484848"/>
                </a:solidFill>
                <a:latin typeface="Roboto"/>
              </a:rPr>
              <a:t>Seat Pitch</a:t>
            </a:r>
            <a:r>
              <a:rPr lang="de-CH" sz="900" dirty="0">
                <a:solidFill>
                  <a:srgbClr val="484848"/>
                </a:solidFill>
                <a:latin typeface="Roboto"/>
              </a:rPr>
              <a:t>: </a:t>
            </a:r>
            <a:br>
              <a:rPr lang="de-CH" sz="900" dirty="0">
                <a:solidFill>
                  <a:srgbClr val="484848"/>
                </a:solidFill>
                <a:latin typeface="Roboto"/>
              </a:rPr>
            </a:br>
            <a:r>
              <a:rPr lang="de-CH" sz="900" dirty="0">
                <a:solidFill>
                  <a:srgbClr val="484848"/>
                </a:solidFill>
                <a:latin typeface="Roboto"/>
              </a:rPr>
              <a:t>60 </a:t>
            </a:r>
            <a:r>
              <a:rPr lang="de-CH" sz="900" dirty="0" err="1">
                <a:solidFill>
                  <a:srgbClr val="484848"/>
                </a:solidFill>
                <a:latin typeface="Roboto"/>
              </a:rPr>
              <a:t>inches</a:t>
            </a:r>
            <a:endParaRPr sz="900" dirty="0">
              <a:solidFill>
                <a:srgbClr val="484848"/>
              </a:solidFill>
              <a:latin typeface="Roboto"/>
            </a:endParaRPr>
          </a:p>
        </p:txBody>
      </p:sp>
      <p:sp>
        <p:nvSpPr>
          <p:cNvPr id="22" name="TextBox 21">
            <a:extLst>
              <a:ext uri="{FF2B5EF4-FFF2-40B4-BE49-F238E27FC236}">
                <a16:creationId xmlns:a16="http://schemas.microsoft.com/office/drawing/2014/main" id="{0A13D952-86C5-A523-892C-54E103167671}"/>
              </a:ext>
            </a:extLst>
          </p:cNvPr>
          <p:cNvSpPr txBox="1"/>
          <p:nvPr/>
        </p:nvSpPr>
        <p:spPr>
          <a:xfrm>
            <a:off x="10608473" y="9191297"/>
            <a:ext cx="1154960" cy="276999"/>
          </a:xfrm>
          <a:prstGeom prst="rect">
            <a:avLst/>
          </a:prstGeom>
          <a:noFill/>
          <a:ln>
            <a:noFill/>
          </a:ln>
        </p:spPr>
        <p:txBody>
          <a:bodyPr wrap="square" lIns="0" tIns="0" rIns="0" bIns="0" anchor="t">
            <a:spAutoFit/>
          </a:bodyPr>
          <a:lstStyle/>
          <a:p>
            <a:pPr algn="ctr"/>
            <a:r>
              <a:rPr sz="900" dirty="0">
                <a:solidFill>
                  <a:srgbClr val="484848"/>
                </a:solidFill>
                <a:latin typeface="Roboto"/>
              </a:rPr>
              <a:t>Experience</a:t>
            </a:r>
            <a:r>
              <a:rPr lang="de-CH" sz="900" dirty="0">
                <a:solidFill>
                  <a:srgbClr val="484848"/>
                </a:solidFill>
                <a:latin typeface="Roboto"/>
              </a:rPr>
              <a:t>: </a:t>
            </a:r>
            <a:br>
              <a:rPr lang="de-CH" sz="900" dirty="0">
                <a:solidFill>
                  <a:srgbClr val="484848"/>
                </a:solidFill>
                <a:latin typeface="Roboto"/>
              </a:rPr>
            </a:br>
            <a:r>
              <a:rPr lang="de-CH" sz="900" dirty="0">
                <a:solidFill>
                  <a:srgbClr val="484848"/>
                </a:solidFill>
                <a:latin typeface="Roboto"/>
              </a:rPr>
              <a:t>#spacious leg </a:t>
            </a:r>
            <a:r>
              <a:rPr lang="de-CH" sz="900" dirty="0" err="1">
                <a:solidFill>
                  <a:srgbClr val="484848"/>
                </a:solidFill>
                <a:latin typeface="Roboto"/>
              </a:rPr>
              <a:t>rom</a:t>
            </a:r>
            <a:endParaRPr sz="900" dirty="0">
              <a:solidFill>
                <a:srgbClr val="484848"/>
              </a:solidFill>
              <a:latin typeface="Roboto"/>
            </a:endParaRPr>
          </a:p>
        </p:txBody>
      </p:sp>
      <p:sp>
        <p:nvSpPr>
          <p:cNvPr id="23" name="TextBox 22">
            <a:extLst>
              <a:ext uri="{FF2B5EF4-FFF2-40B4-BE49-F238E27FC236}">
                <a16:creationId xmlns:a16="http://schemas.microsoft.com/office/drawing/2014/main" id="{26AF74BF-E3EA-FBB8-7278-365911C9401A}"/>
              </a:ext>
            </a:extLst>
          </p:cNvPr>
          <p:cNvSpPr txBox="1"/>
          <p:nvPr/>
        </p:nvSpPr>
        <p:spPr>
          <a:xfrm>
            <a:off x="8072607" y="9522829"/>
            <a:ext cx="234038" cy="138499"/>
          </a:xfrm>
          <a:prstGeom prst="rect">
            <a:avLst/>
          </a:prstGeom>
          <a:noFill/>
          <a:ln>
            <a:noFill/>
          </a:ln>
        </p:spPr>
        <p:txBody>
          <a:bodyPr wrap="none" lIns="0" tIns="0" rIns="0" bIns="0" anchor="t">
            <a:spAutoFit/>
          </a:bodyPr>
          <a:lstStyle/>
          <a:p>
            <a:pPr algn="ctr"/>
            <a:r>
              <a:rPr sz="900" b="1">
                <a:solidFill>
                  <a:srgbClr val="DE8431"/>
                </a:solidFill>
                <a:latin typeface="Roboto"/>
              </a:rPr>
              <a:t>Seat</a:t>
            </a:r>
          </a:p>
        </p:txBody>
      </p:sp>
      <p:sp>
        <p:nvSpPr>
          <p:cNvPr id="24" name="TextBox 23">
            <a:extLst>
              <a:ext uri="{FF2B5EF4-FFF2-40B4-BE49-F238E27FC236}">
                <a16:creationId xmlns:a16="http://schemas.microsoft.com/office/drawing/2014/main" id="{144DDF30-7661-68B5-74F4-37E513B53E48}"/>
              </a:ext>
            </a:extLst>
          </p:cNvPr>
          <p:cNvSpPr txBox="1"/>
          <p:nvPr/>
        </p:nvSpPr>
        <p:spPr>
          <a:xfrm>
            <a:off x="7933877" y="10701724"/>
            <a:ext cx="511358" cy="138499"/>
          </a:xfrm>
          <a:prstGeom prst="rect">
            <a:avLst/>
          </a:prstGeom>
          <a:noFill/>
          <a:ln>
            <a:noFill/>
          </a:ln>
        </p:spPr>
        <p:txBody>
          <a:bodyPr wrap="none" lIns="0" tIns="0" rIns="0" bIns="0" anchor="t">
            <a:spAutoFit/>
          </a:bodyPr>
          <a:lstStyle/>
          <a:p>
            <a:pPr algn="ctr"/>
            <a:r>
              <a:rPr sz="900" b="1">
                <a:solidFill>
                  <a:srgbClr val="E55753"/>
                </a:solidFill>
                <a:latin typeface="Roboto"/>
              </a:rPr>
              <a:t>Transport</a:t>
            </a:r>
          </a:p>
        </p:txBody>
      </p:sp>
      <p:sp>
        <p:nvSpPr>
          <p:cNvPr id="25" name="TextBox 24">
            <a:extLst>
              <a:ext uri="{FF2B5EF4-FFF2-40B4-BE49-F238E27FC236}">
                <a16:creationId xmlns:a16="http://schemas.microsoft.com/office/drawing/2014/main" id="{4E02D63D-289E-0B02-CA5B-B28C754FA551}"/>
              </a:ext>
            </a:extLst>
          </p:cNvPr>
          <p:cNvSpPr txBox="1"/>
          <p:nvPr/>
        </p:nvSpPr>
        <p:spPr>
          <a:xfrm>
            <a:off x="9392527" y="10456121"/>
            <a:ext cx="639599" cy="276999"/>
          </a:xfrm>
          <a:prstGeom prst="rect">
            <a:avLst/>
          </a:prstGeom>
          <a:noFill/>
          <a:ln>
            <a:noFill/>
          </a:ln>
        </p:spPr>
        <p:txBody>
          <a:bodyPr wrap="none" lIns="0" tIns="0" rIns="0" bIns="0" anchor="t">
            <a:spAutoFit/>
          </a:bodyPr>
          <a:lstStyle/>
          <a:p>
            <a:pPr algn="ctr"/>
            <a:r>
              <a:rPr sz="900" dirty="0">
                <a:solidFill>
                  <a:srgbClr val="484848"/>
                </a:solidFill>
                <a:latin typeface="Roboto"/>
              </a:rPr>
              <a:t>Destination</a:t>
            </a:r>
            <a:r>
              <a:rPr lang="de-CH" sz="900" dirty="0">
                <a:solidFill>
                  <a:srgbClr val="484848"/>
                </a:solidFill>
                <a:latin typeface="Roboto"/>
              </a:rPr>
              <a:t>: </a:t>
            </a:r>
            <a:br>
              <a:rPr lang="de-CH" sz="900" dirty="0">
                <a:solidFill>
                  <a:srgbClr val="484848"/>
                </a:solidFill>
                <a:latin typeface="Roboto"/>
              </a:rPr>
            </a:br>
            <a:r>
              <a:rPr lang="de-CH" sz="900" dirty="0">
                <a:solidFill>
                  <a:srgbClr val="484848"/>
                </a:solidFill>
                <a:latin typeface="Roboto"/>
              </a:rPr>
              <a:t>Miami</a:t>
            </a:r>
            <a:endParaRPr sz="900" dirty="0">
              <a:solidFill>
                <a:srgbClr val="484848"/>
              </a:solidFill>
              <a:latin typeface="Roboto"/>
            </a:endParaRPr>
          </a:p>
        </p:txBody>
      </p:sp>
      <p:sp>
        <p:nvSpPr>
          <p:cNvPr id="26" name="TextBox 25">
            <a:extLst>
              <a:ext uri="{FF2B5EF4-FFF2-40B4-BE49-F238E27FC236}">
                <a16:creationId xmlns:a16="http://schemas.microsoft.com/office/drawing/2014/main" id="{E04A65AC-595E-EE2C-2497-E7FEFE22FCEF}"/>
              </a:ext>
            </a:extLst>
          </p:cNvPr>
          <p:cNvSpPr txBox="1"/>
          <p:nvPr/>
        </p:nvSpPr>
        <p:spPr>
          <a:xfrm>
            <a:off x="10766796" y="10456121"/>
            <a:ext cx="838371" cy="276999"/>
          </a:xfrm>
          <a:prstGeom prst="rect">
            <a:avLst/>
          </a:prstGeom>
          <a:noFill/>
          <a:ln>
            <a:noFill/>
          </a:ln>
        </p:spPr>
        <p:txBody>
          <a:bodyPr wrap="none" lIns="0" tIns="0" rIns="0" bIns="0" anchor="t">
            <a:spAutoFit/>
          </a:bodyPr>
          <a:lstStyle/>
          <a:p>
            <a:pPr algn="ctr"/>
            <a:r>
              <a:rPr sz="900" dirty="0">
                <a:solidFill>
                  <a:srgbClr val="484848"/>
                </a:solidFill>
                <a:latin typeface="Roboto"/>
              </a:rPr>
              <a:t>Weather</a:t>
            </a:r>
            <a:r>
              <a:rPr lang="de-CH" sz="900" dirty="0">
                <a:solidFill>
                  <a:srgbClr val="484848"/>
                </a:solidFill>
                <a:latin typeface="Roboto"/>
              </a:rPr>
              <a:t>:</a:t>
            </a:r>
            <a:br>
              <a:rPr lang="de-CH" sz="900" dirty="0">
                <a:solidFill>
                  <a:srgbClr val="484848"/>
                </a:solidFill>
                <a:latin typeface="Roboto"/>
              </a:rPr>
            </a:br>
            <a:r>
              <a:rPr lang="de-CH" sz="900" dirty="0">
                <a:solidFill>
                  <a:srgbClr val="484848"/>
                </a:solidFill>
                <a:latin typeface="Roboto"/>
              </a:rPr>
              <a:t>#sunny </a:t>
            </a:r>
            <a:r>
              <a:rPr lang="de-CH" sz="900" dirty="0" err="1">
                <a:solidFill>
                  <a:srgbClr val="484848"/>
                </a:solidFill>
                <a:latin typeface="Roboto"/>
              </a:rPr>
              <a:t>beaches</a:t>
            </a:r>
            <a:endParaRPr sz="900" dirty="0">
              <a:solidFill>
                <a:srgbClr val="484848"/>
              </a:solidFill>
              <a:latin typeface="Roboto"/>
            </a:endParaRPr>
          </a:p>
        </p:txBody>
      </p:sp>
      <p:sp>
        <p:nvSpPr>
          <p:cNvPr id="27" name="Rounded Rectangle 25">
            <a:extLst>
              <a:ext uri="{FF2B5EF4-FFF2-40B4-BE49-F238E27FC236}">
                <a16:creationId xmlns:a16="http://schemas.microsoft.com/office/drawing/2014/main" id="{55E49558-92EF-99C5-40B5-20E0C083AF96}"/>
              </a:ext>
            </a:extLst>
          </p:cNvPr>
          <p:cNvSpPr/>
          <p:nvPr/>
        </p:nvSpPr>
        <p:spPr>
          <a:xfrm>
            <a:off x="8013579" y="9002968"/>
            <a:ext cx="352031" cy="376659"/>
          </a:xfrm>
          <a:custGeom>
            <a:avLst/>
            <a:gdLst/>
            <a:ahLst/>
            <a:cxnLst/>
            <a:rect l="0" t="0" r="0" b="0"/>
            <a:pathLst>
              <a:path w="352031" h="376659">
                <a:moveTo>
                  <a:pt x="49120" y="57307"/>
                </a:moveTo>
                <a:cubicBezTo>
                  <a:pt x="49120" y="79914"/>
                  <a:pt x="67447" y="98241"/>
                  <a:pt x="90054" y="98241"/>
                </a:cubicBezTo>
                <a:cubicBezTo>
                  <a:pt x="112661" y="98241"/>
                  <a:pt x="130988" y="79914"/>
                  <a:pt x="130988" y="57307"/>
                </a:cubicBezTo>
                <a:cubicBezTo>
                  <a:pt x="130988" y="34700"/>
                  <a:pt x="112661" y="16373"/>
                  <a:pt x="90054" y="16373"/>
                </a:cubicBezTo>
                <a:cubicBezTo>
                  <a:pt x="67447" y="16373"/>
                  <a:pt x="49120" y="34700"/>
                  <a:pt x="49120" y="57307"/>
                </a:cubicBezTo>
                <a:moveTo>
                  <a:pt x="245603" y="376591"/>
                </a:moveTo>
                <a:cubicBezTo>
                  <a:pt x="232802" y="376626"/>
                  <a:pt x="222151" y="366762"/>
                  <a:pt x="221206" y="353996"/>
                </a:cubicBezTo>
                <a:lnTo>
                  <a:pt x="216622" y="300945"/>
                </a:lnTo>
                <a:cubicBezTo>
                  <a:pt x="215606" y="288279"/>
                  <a:pt x="205095" y="278479"/>
                  <a:pt x="192389" y="278350"/>
                </a:cubicBezTo>
                <a:lnTo>
                  <a:pt x="144905" y="278350"/>
                </a:lnTo>
                <a:cubicBezTo>
                  <a:pt x="115604" y="278188"/>
                  <a:pt x="91088" y="256067"/>
                  <a:pt x="87925" y="226937"/>
                </a:cubicBezTo>
                <a:lnTo>
                  <a:pt x="74008" y="159969"/>
                </a:lnTo>
                <a:cubicBezTo>
                  <a:pt x="71569" y="146406"/>
                  <a:pt x="80585" y="133433"/>
                  <a:pt x="94148" y="130992"/>
                </a:cubicBezTo>
                <a:cubicBezTo>
                  <a:pt x="107711" y="128551"/>
                  <a:pt x="120685" y="137565"/>
                  <a:pt x="123129" y="151127"/>
                </a:cubicBezTo>
                <a:lnTo>
                  <a:pt x="137046" y="219078"/>
                </a:lnTo>
                <a:cubicBezTo>
                  <a:pt x="137046" y="221042"/>
                  <a:pt x="137046" y="229229"/>
                  <a:pt x="145560" y="229229"/>
                </a:cubicBezTo>
                <a:lnTo>
                  <a:pt x="192389" y="229229"/>
                </a:lnTo>
                <a:cubicBezTo>
                  <a:pt x="230584" y="229417"/>
                  <a:pt x="262363" y="258642"/>
                  <a:pt x="265742" y="296688"/>
                </a:cubicBezTo>
                <a:lnTo>
                  <a:pt x="270327" y="350066"/>
                </a:lnTo>
                <a:cubicBezTo>
                  <a:pt x="270879" y="356942"/>
                  <a:pt x="268514" y="363733"/>
                  <a:pt x="263811" y="368778"/>
                </a:cubicBezTo>
                <a:cubicBezTo>
                  <a:pt x="259108" y="373824"/>
                  <a:pt x="252500" y="376659"/>
                  <a:pt x="245603" y="376591"/>
                </a:cubicBezTo>
                <a:close/>
                <a:moveTo>
                  <a:pt x="0" y="163735"/>
                </a:moveTo>
                <a:lnTo>
                  <a:pt x="19648" y="163735"/>
                </a:lnTo>
                <a:cubicBezTo>
                  <a:pt x="27452" y="163544"/>
                  <a:pt x="34306" y="168890"/>
                  <a:pt x="36021" y="176506"/>
                </a:cubicBezTo>
                <a:lnTo>
                  <a:pt x="54851" y="258374"/>
                </a:lnTo>
                <a:cubicBezTo>
                  <a:pt x="60916" y="288883"/>
                  <a:pt x="87603" y="310916"/>
                  <a:pt x="118708" y="311097"/>
                </a:cubicBezTo>
                <a:lnTo>
                  <a:pt x="165700" y="311097"/>
                </a:lnTo>
                <a:cubicBezTo>
                  <a:pt x="174028" y="311037"/>
                  <a:pt x="181074" y="317238"/>
                  <a:pt x="182073" y="325506"/>
                </a:cubicBezTo>
                <a:lnTo>
                  <a:pt x="186167" y="358253"/>
                </a:lnTo>
                <a:cubicBezTo>
                  <a:pt x="186732" y="362924"/>
                  <a:pt x="185259" y="367613"/>
                  <a:pt x="182125" y="371123"/>
                </a:cubicBezTo>
                <a:cubicBezTo>
                  <a:pt x="178991" y="374633"/>
                  <a:pt x="174499" y="376625"/>
                  <a:pt x="169793" y="376591"/>
                </a:cubicBezTo>
                <a:lnTo>
                  <a:pt x="0" y="376591"/>
                </a:lnTo>
                <a:moveTo>
                  <a:pt x="352031" y="122801"/>
                </a:moveTo>
                <a:cubicBezTo>
                  <a:pt x="352031" y="140887"/>
                  <a:pt x="337370" y="155548"/>
                  <a:pt x="319284" y="155548"/>
                </a:cubicBezTo>
                <a:lnTo>
                  <a:pt x="270163" y="155548"/>
                </a:lnTo>
                <a:cubicBezTo>
                  <a:pt x="252077" y="155548"/>
                  <a:pt x="237416" y="140887"/>
                  <a:pt x="237416" y="122801"/>
                </a:cubicBezTo>
                <a:lnTo>
                  <a:pt x="237416" y="32747"/>
                </a:lnTo>
                <a:cubicBezTo>
                  <a:pt x="237416" y="14661"/>
                  <a:pt x="252077" y="0"/>
                  <a:pt x="270163" y="0"/>
                </a:cubicBezTo>
                <a:lnTo>
                  <a:pt x="319284" y="0"/>
                </a:lnTo>
                <a:cubicBezTo>
                  <a:pt x="337370" y="0"/>
                  <a:pt x="352031" y="14661"/>
                  <a:pt x="352031" y="32747"/>
                </a:cubicBezTo>
                <a:close/>
              </a:path>
            </a:pathLst>
          </a:custGeom>
          <a:noFill/>
          <a:ln w="12279">
            <a:solidFill>
              <a:srgbClr val="DE8431"/>
            </a:solidFill>
          </a:ln>
        </p:spPr>
        <p:txBody>
          <a:bodyPr rtlCol="0" anchor="ctr"/>
          <a:lstStyle/>
          <a:p>
            <a:pPr algn="ctr"/>
            <a:endParaRPr/>
          </a:p>
        </p:txBody>
      </p:sp>
      <p:sp>
        <p:nvSpPr>
          <p:cNvPr id="28" name="Rounded Rectangle 26">
            <a:extLst>
              <a:ext uri="{FF2B5EF4-FFF2-40B4-BE49-F238E27FC236}">
                <a16:creationId xmlns:a16="http://schemas.microsoft.com/office/drawing/2014/main" id="{3620A08D-A896-03F3-D50B-98BADD8038F9}"/>
              </a:ext>
            </a:extLst>
          </p:cNvPr>
          <p:cNvSpPr/>
          <p:nvPr/>
        </p:nvSpPr>
        <p:spPr>
          <a:xfrm>
            <a:off x="8001298" y="7889567"/>
            <a:ext cx="376593" cy="245603"/>
          </a:xfrm>
          <a:custGeom>
            <a:avLst/>
            <a:gdLst/>
            <a:ahLst/>
            <a:cxnLst/>
            <a:rect l="0" t="0" r="0" b="0"/>
            <a:pathLst>
              <a:path w="376593" h="245603">
                <a:moveTo>
                  <a:pt x="155549" y="49120"/>
                </a:moveTo>
                <a:lnTo>
                  <a:pt x="302911" y="49120"/>
                </a:lnTo>
                <a:cubicBezTo>
                  <a:pt x="302911" y="49120"/>
                  <a:pt x="311098" y="49120"/>
                  <a:pt x="311098" y="57307"/>
                </a:cubicBezTo>
                <a:lnTo>
                  <a:pt x="311098" y="90054"/>
                </a:lnTo>
                <a:cubicBezTo>
                  <a:pt x="311098" y="90054"/>
                  <a:pt x="311098" y="98241"/>
                  <a:pt x="302911" y="98241"/>
                </a:cubicBezTo>
                <a:lnTo>
                  <a:pt x="155549" y="98241"/>
                </a:lnTo>
                <a:cubicBezTo>
                  <a:pt x="155549" y="98241"/>
                  <a:pt x="147362" y="98241"/>
                  <a:pt x="147362" y="90054"/>
                </a:cubicBezTo>
                <a:lnTo>
                  <a:pt x="147362" y="57307"/>
                </a:lnTo>
                <a:cubicBezTo>
                  <a:pt x="147362" y="57307"/>
                  <a:pt x="147362" y="49120"/>
                  <a:pt x="155549" y="49120"/>
                </a:cubicBezTo>
                <a:moveTo>
                  <a:pt x="229230" y="163735"/>
                </a:moveTo>
                <a:lnTo>
                  <a:pt x="180109" y="163735"/>
                </a:lnTo>
                <a:moveTo>
                  <a:pt x="229230" y="196482"/>
                </a:moveTo>
                <a:lnTo>
                  <a:pt x="147362" y="196482"/>
                </a:lnTo>
                <a:moveTo>
                  <a:pt x="261977" y="180109"/>
                </a:moveTo>
                <a:cubicBezTo>
                  <a:pt x="261977" y="166544"/>
                  <a:pt x="272973" y="155548"/>
                  <a:pt x="286537" y="155548"/>
                </a:cubicBezTo>
                <a:cubicBezTo>
                  <a:pt x="300102" y="155548"/>
                  <a:pt x="311098" y="166544"/>
                  <a:pt x="311098" y="180109"/>
                </a:cubicBezTo>
                <a:cubicBezTo>
                  <a:pt x="311098" y="193673"/>
                  <a:pt x="300102" y="204669"/>
                  <a:pt x="286537" y="204669"/>
                </a:cubicBezTo>
                <a:cubicBezTo>
                  <a:pt x="272973" y="204669"/>
                  <a:pt x="261977" y="193673"/>
                  <a:pt x="261977" y="180109"/>
                </a:cubicBezTo>
                <a:moveTo>
                  <a:pt x="343845" y="122801"/>
                </a:moveTo>
                <a:cubicBezTo>
                  <a:pt x="343526" y="106992"/>
                  <a:pt x="354549" y="93213"/>
                  <a:pt x="370043" y="90054"/>
                </a:cubicBezTo>
                <a:cubicBezTo>
                  <a:pt x="373855" y="89276"/>
                  <a:pt x="376593" y="85922"/>
                  <a:pt x="376592" y="82031"/>
                </a:cubicBezTo>
                <a:lnTo>
                  <a:pt x="376592" y="16373"/>
                </a:lnTo>
                <a:cubicBezTo>
                  <a:pt x="376592" y="7330"/>
                  <a:pt x="369261" y="0"/>
                  <a:pt x="360218" y="0"/>
                </a:cubicBezTo>
                <a:lnTo>
                  <a:pt x="16374" y="0"/>
                </a:lnTo>
                <a:cubicBezTo>
                  <a:pt x="7331" y="0"/>
                  <a:pt x="0" y="7330"/>
                  <a:pt x="0" y="16373"/>
                </a:cubicBezTo>
                <a:lnTo>
                  <a:pt x="0" y="82686"/>
                </a:lnTo>
                <a:cubicBezTo>
                  <a:pt x="294" y="86328"/>
                  <a:pt x="2967" y="89335"/>
                  <a:pt x="6550" y="90054"/>
                </a:cubicBezTo>
                <a:cubicBezTo>
                  <a:pt x="24635" y="90054"/>
                  <a:pt x="39297" y="104715"/>
                  <a:pt x="39297" y="122801"/>
                </a:cubicBezTo>
                <a:cubicBezTo>
                  <a:pt x="39297" y="140887"/>
                  <a:pt x="24635" y="155548"/>
                  <a:pt x="6550" y="155548"/>
                </a:cubicBezTo>
                <a:cubicBezTo>
                  <a:pt x="2737" y="156326"/>
                  <a:pt x="0" y="159680"/>
                  <a:pt x="0" y="163571"/>
                </a:cubicBezTo>
                <a:lnTo>
                  <a:pt x="0" y="229229"/>
                </a:lnTo>
                <a:cubicBezTo>
                  <a:pt x="0" y="238272"/>
                  <a:pt x="7331" y="245603"/>
                  <a:pt x="16374" y="245603"/>
                </a:cubicBezTo>
                <a:lnTo>
                  <a:pt x="360218" y="245603"/>
                </a:lnTo>
                <a:cubicBezTo>
                  <a:pt x="369261" y="245603"/>
                  <a:pt x="376592" y="238272"/>
                  <a:pt x="376592" y="229229"/>
                </a:cubicBezTo>
                <a:lnTo>
                  <a:pt x="376592" y="162916"/>
                </a:lnTo>
                <a:cubicBezTo>
                  <a:pt x="376593" y="159025"/>
                  <a:pt x="373855" y="155671"/>
                  <a:pt x="370043" y="154893"/>
                </a:cubicBezTo>
                <a:cubicBezTo>
                  <a:pt x="354793" y="151781"/>
                  <a:pt x="343842" y="138365"/>
                  <a:pt x="343845" y="122801"/>
                </a:cubicBezTo>
                <a:close/>
                <a:moveTo>
                  <a:pt x="81868" y="200576"/>
                </a:moveTo>
                <a:cubicBezTo>
                  <a:pt x="81868" y="202836"/>
                  <a:pt x="80035" y="204669"/>
                  <a:pt x="77775" y="204669"/>
                </a:cubicBezTo>
                <a:cubicBezTo>
                  <a:pt x="75514" y="204669"/>
                  <a:pt x="73681" y="202836"/>
                  <a:pt x="73681" y="200576"/>
                </a:cubicBezTo>
                <a:cubicBezTo>
                  <a:pt x="73681" y="198315"/>
                  <a:pt x="75514" y="196482"/>
                  <a:pt x="77775" y="196482"/>
                </a:cubicBezTo>
                <a:cubicBezTo>
                  <a:pt x="80035" y="196482"/>
                  <a:pt x="81868" y="198315"/>
                  <a:pt x="81868" y="200576"/>
                </a:cubicBezTo>
                <a:moveTo>
                  <a:pt x="81868" y="159642"/>
                </a:moveTo>
                <a:cubicBezTo>
                  <a:pt x="81868" y="161902"/>
                  <a:pt x="80035" y="163735"/>
                  <a:pt x="77775" y="163735"/>
                </a:cubicBezTo>
                <a:cubicBezTo>
                  <a:pt x="75514" y="163735"/>
                  <a:pt x="73681" y="161902"/>
                  <a:pt x="73681" y="159642"/>
                </a:cubicBezTo>
                <a:cubicBezTo>
                  <a:pt x="73681" y="157381"/>
                  <a:pt x="75514" y="155548"/>
                  <a:pt x="77775" y="155548"/>
                </a:cubicBezTo>
                <a:cubicBezTo>
                  <a:pt x="80035" y="155548"/>
                  <a:pt x="81868" y="157381"/>
                  <a:pt x="81868" y="159642"/>
                </a:cubicBezTo>
                <a:moveTo>
                  <a:pt x="81868" y="118708"/>
                </a:moveTo>
                <a:cubicBezTo>
                  <a:pt x="81868" y="120968"/>
                  <a:pt x="80035" y="122801"/>
                  <a:pt x="77775" y="122801"/>
                </a:cubicBezTo>
                <a:cubicBezTo>
                  <a:pt x="75514" y="122801"/>
                  <a:pt x="73681" y="120968"/>
                  <a:pt x="73681" y="118708"/>
                </a:cubicBezTo>
                <a:cubicBezTo>
                  <a:pt x="73681" y="116447"/>
                  <a:pt x="75514" y="114614"/>
                  <a:pt x="77775" y="114614"/>
                </a:cubicBezTo>
                <a:cubicBezTo>
                  <a:pt x="80035" y="114614"/>
                  <a:pt x="81868" y="116447"/>
                  <a:pt x="81868" y="118708"/>
                </a:cubicBezTo>
                <a:moveTo>
                  <a:pt x="81868" y="77774"/>
                </a:moveTo>
                <a:cubicBezTo>
                  <a:pt x="81868" y="80035"/>
                  <a:pt x="80035" y="81867"/>
                  <a:pt x="77775" y="81867"/>
                </a:cubicBezTo>
                <a:cubicBezTo>
                  <a:pt x="75514" y="81867"/>
                  <a:pt x="73681" y="80035"/>
                  <a:pt x="73681" y="77774"/>
                </a:cubicBezTo>
                <a:cubicBezTo>
                  <a:pt x="73681" y="75513"/>
                  <a:pt x="75514" y="73680"/>
                  <a:pt x="77775" y="73680"/>
                </a:cubicBezTo>
                <a:cubicBezTo>
                  <a:pt x="80035" y="73680"/>
                  <a:pt x="81868" y="75513"/>
                  <a:pt x="81868" y="77774"/>
                </a:cubicBezTo>
                <a:moveTo>
                  <a:pt x="81868" y="36840"/>
                </a:moveTo>
                <a:cubicBezTo>
                  <a:pt x="81868" y="39101"/>
                  <a:pt x="80035" y="40933"/>
                  <a:pt x="77775" y="40933"/>
                </a:cubicBezTo>
                <a:cubicBezTo>
                  <a:pt x="75514" y="40933"/>
                  <a:pt x="73681" y="39101"/>
                  <a:pt x="73681" y="36840"/>
                </a:cubicBezTo>
                <a:cubicBezTo>
                  <a:pt x="73681" y="34579"/>
                  <a:pt x="75514" y="32747"/>
                  <a:pt x="77775" y="32747"/>
                </a:cubicBezTo>
                <a:cubicBezTo>
                  <a:pt x="80035" y="32747"/>
                  <a:pt x="81868" y="34579"/>
                  <a:pt x="81868" y="36840"/>
                </a:cubicBezTo>
              </a:path>
            </a:pathLst>
          </a:custGeom>
          <a:noFill/>
          <a:ln w="12279">
            <a:solidFill>
              <a:srgbClr val="E0CB15"/>
            </a:solidFill>
          </a:ln>
        </p:spPr>
        <p:txBody>
          <a:bodyPr rtlCol="0" anchor="ctr"/>
          <a:lstStyle/>
          <a:p>
            <a:pPr algn="ctr"/>
            <a:endParaRPr/>
          </a:p>
        </p:txBody>
      </p:sp>
      <p:sp>
        <p:nvSpPr>
          <p:cNvPr id="29" name="Rounded Rectangle 27">
            <a:extLst>
              <a:ext uri="{FF2B5EF4-FFF2-40B4-BE49-F238E27FC236}">
                <a16:creationId xmlns:a16="http://schemas.microsoft.com/office/drawing/2014/main" id="{BD4D5C82-9CAA-6390-E2C5-C482D4E828EC}"/>
              </a:ext>
            </a:extLst>
          </p:cNvPr>
          <p:cNvSpPr/>
          <p:nvPr/>
        </p:nvSpPr>
        <p:spPr>
          <a:xfrm>
            <a:off x="8005457" y="10185956"/>
            <a:ext cx="368275" cy="368404"/>
          </a:xfrm>
          <a:custGeom>
            <a:avLst/>
            <a:gdLst/>
            <a:ahLst/>
            <a:cxnLst/>
            <a:rect l="0" t="0" r="0" b="0"/>
            <a:pathLst>
              <a:path w="368275" h="368404">
                <a:moveTo>
                  <a:pt x="24298" y="32747"/>
                </a:moveTo>
                <a:lnTo>
                  <a:pt x="122539" y="32747"/>
                </a:lnTo>
                <a:cubicBezTo>
                  <a:pt x="122539" y="32747"/>
                  <a:pt x="138913" y="32747"/>
                  <a:pt x="138913" y="49120"/>
                </a:cubicBezTo>
                <a:lnTo>
                  <a:pt x="138913" y="147361"/>
                </a:lnTo>
                <a:cubicBezTo>
                  <a:pt x="138913" y="147361"/>
                  <a:pt x="138913" y="163735"/>
                  <a:pt x="122539" y="163735"/>
                </a:cubicBezTo>
                <a:lnTo>
                  <a:pt x="24298" y="163735"/>
                </a:lnTo>
                <a:cubicBezTo>
                  <a:pt x="24298" y="163735"/>
                  <a:pt x="7924" y="163735"/>
                  <a:pt x="7924" y="147361"/>
                </a:cubicBezTo>
                <a:lnTo>
                  <a:pt x="7924" y="49120"/>
                </a:lnTo>
                <a:cubicBezTo>
                  <a:pt x="7924" y="49120"/>
                  <a:pt x="7924" y="32747"/>
                  <a:pt x="24298" y="32747"/>
                </a:cubicBezTo>
                <a:moveTo>
                  <a:pt x="7924" y="98241"/>
                </a:moveTo>
                <a:lnTo>
                  <a:pt x="138913" y="98241"/>
                </a:lnTo>
                <a:moveTo>
                  <a:pt x="40671" y="126895"/>
                </a:moveTo>
                <a:cubicBezTo>
                  <a:pt x="42932" y="126895"/>
                  <a:pt x="44765" y="128727"/>
                  <a:pt x="44765" y="130988"/>
                </a:cubicBezTo>
                <a:moveTo>
                  <a:pt x="36578" y="130988"/>
                </a:moveTo>
                <a:cubicBezTo>
                  <a:pt x="36578" y="128727"/>
                  <a:pt x="38411" y="126895"/>
                  <a:pt x="40671" y="126895"/>
                </a:cubicBezTo>
                <a:moveTo>
                  <a:pt x="36578" y="130988"/>
                </a:moveTo>
                <a:cubicBezTo>
                  <a:pt x="36578" y="133249"/>
                  <a:pt x="38411" y="135081"/>
                  <a:pt x="40671" y="135081"/>
                </a:cubicBezTo>
                <a:moveTo>
                  <a:pt x="40671" y="135081"/>
                </a:moveTo>
                <a:cubicBezTo>
                  <a:pt x="42932" y="135081"/>
                  <a:pt x="44765" y="133249"/>
                  <a:pt x="44765" y="130988"/>
                </a:cubicBezTo>
                <a:moveTo>
                  <a:pt x="106166" y="126895"/>
                </a:moveTo>
                <a:cubicBezTo>
                  <a:pt x="108426" y="126895"/>
                  <a:pt x="110259" y="128727"/>
                  <a:pt x="110259" y="130988"/>
                </a:cubicBezTo>
                <a:moveTo>
                  <a:pt x="102072" y="130988"/>
                </a:moveTo>
                <a:cubicBezTo>
                  <a:pt x="102072" y="128727"/>
                  <a:pt x="103905" y="126895"/>
                  <a:pt x="106166" y="126895"/>
                </a:cubicBezTo>
                <a:moveTo>
                  <a:pt x="102072" y="130988"/>
                </a:moveTo>
                <a:cubicBezTo>
                  <a:pt x="102072" y="133249"/>
                  <a:pt x="103905" y="135081"/>
                  <a:pt x="106166" y="135081"/>
                </a:cubicBezTo>
                <a:moveTo>
                  <a:pt x="106166" y="135081"/>
                </a:moveTo>
                <a:cubicBezTo>
                  <a:pt x="108426" y="135081"/>
                  <a:pt x="110259" y="133249"/>
                  <a:pt x="110259" y="130988"/>
                </a:cubicBezTo>
                <a:moveTo>
                  <a:pt x="57045" y="0"/>
                </a:moveTo>
                <a:lnTo>
                  <a:pt x="89792" y="0"/>
                </a:lnTo>
                <a:moveTo>
                  <a:pt x="24298" y="163735"/>
                </a:moveTo>
                <a:lnTo>
                  <a:pt x="0" y="196138"/>
                </a:lnTo>
                <a:moveTo>
                  <a:pt x="122539" y="163735"/>
                </a:moveTo>
                <a:lnTo>
                  <a:pt x="146887" y="196187"/>
                </a:lnTo>
                <a:moveTo>
                  <a:pt x="368273" y="327471"/>
                </a:moveTo>
                <a:cubicBezTo>
                  <a:pt x="368273" y="336513"/>
                  <a:pt x="360943" y="343844"/>
                  <a:pt x="351900" y="343844"/>
                </a:cubicBezTo>
                <a:lnTo>
                  <a:pt x="220911" y="343844"/>
                </a:lnTo>
                <a:cubicBezTo>
                  <a:pt x="211869" y="343844"/>
                  <a:pt x="204538" y="336513"/>
                  <a:pt x="204538" y="327471"/>
                </a:cubicBezTo>
                <a:lnTo>
                  <a:pt x="204538" y="314961"/>
                </a:lnTo>
                <a:cubicBezTo>
                  <a:pt x="204536" y="312419"/>
                  <a:pt x="205131" y="309913"/>
                  <a:pt x="206274" y="307642"/>
                </a:cubicBezTo>
                <a:lnTo>
                  <a:pt x="220911" y="278350"/>
                </a:lnTo>
                <a:lnTo>
                  <a:pt x="351900" y="278350"/>
                </a:lnTo>
                <a:lnTo>
                  <a:pt x="366538" y="307642"/>
                </a:lnTo>
                <a:cubicBezTo>
                  <a:pt x="367681" y="309913"/>
                  <a:pt x="368275" y="312419"/>
                  <a:pt x="368273" y="314961"/>
                </a:cubicBezTo>
                <a:close/>
                <a:moveTo>
                  <a:pt x="220911" y="368404"/>
                </a:moveTo>
                <a:lnTo>
                  <a:pt x="220911" y="343844"/>
                </a:lnTo>
                <a:moveTo>
                  <a:pt x="351900" y="368404"/>
                </a:moveTo>
                <a:lnTo>
                  <a:pt x="351900" y="343844"/>
                </a:lnTo>
                <a:moveTo>
                  <a:pt x="351900" y="278350"/>
                </a:moveTo>
                <a:lnTo>
                  <a:pt x="220911" y="278350"/>
                </a:lnTo>
                <a:lnTo>
                  <a:pt x="226822" y="242918"/>
                </a:lnTo>
                <a:cubicBezTo>
                  <a:pt x="228135" y="235022"/>
                  <a:pt x="234963" y="229233"/>
                  <a:pt x="242967" y="229229"/>
                </a:cubicBezTo>
                <a:lnTo>
                  <a:pt x="329861" y="229229"/>
                </a:lnTo>
                <a:cubicBezTo>
                  <a:pt x="337865" y="229233"/>
                  <a:pt x="344693" y="235022"/>
                  <a:pt x="346005" y="242918"/>
                </a:cubicBezTo>
                <a:close/>
                <a:moveTo>
                  <a:pt x="204980" y="311097"/>
                </a:moveTo>
                <a:lnTo>
                  <a:pt x="245472" y="311097"/>
                </a:lnTo>
                <a:moveTo>
                  <a:pt x="327340" y="311097"/>
                </a:moveTo>
                <a:lnTo>
                  <a:pt x="368142" y="311097"/>
                </a:lnTo>
                <a:moveTo>
                  <a:pt x="179978" y="114614"/>
                </a:moveTo>
                <a:cubicBezTo>
                  <a:pt x="223844" y="114597"/>
                  <a:pt x="262406" y="143664"/>
                  <a:pt x="274469" y="185839"/>
                </a:cubicBezTo>
                <a:moveTo>
                  <a:pt x="163637" y="309738"/>
                </a:moveTo>
                <a:cubicBezTo>
                  <a:pt x="116363" y="301747"/>
                  <a:pt x="81762" y="260800"/>
                  <a:pt x="81769" y="212856"/>
                </a:cubicBezTo>
                <a:lnTo>
                  <a:pt x="81769" y="204669"/>
                </a:lnTo>
                <a:moveTo>
                  <a:pt x="244096" y="169024"/>
                </a:moveTo>
                <a:lnTo>
                  <a:pt x="274453" y="185905"/>
                </a:lnTo>
                <a:lnTo>
                  <a:pt x="291334" y="155548"/>
                </a:lnTo>
                <a:moveTo>
                  <a:pt x="106297" y="229229"/>
                </a:moveTo>
                <a:lnTo>
                  <a:pt x="81736" y="204669"/>
                </a:lnTo>
                <a:lnTo>
                  <a:pt x="57176" y="229229"/>
                </a:lnTo>
              </a:path>
            </a:pathLst>
          </a:custGeom>
          <a:noFill/>
          <a:ln w="12279">
            <a:solidFill>
              <a:srgbClr val="E55753"/>
            </a:solidFill>
          </a:ln>
        </p:spPr>
        <p:txBody>
          <a:bodyPr rtlCol="0" anchor="ctr"/>
          <a:lstStyle/>
          <a:p>
            <a:pPr algn="ctr"/>
            <a:endParaRPr/>
          </a:p>
        </p:txBody>
      </p:sp>
      <p:sp>
        <p:nvSpPr>
          <p:cNvPr id="30" name="Rounded Rectangle 1">
            <a:extLst>
              <a:ext uri="{FF2B5EF4-FFF2-40B4-BE49-F238E27FC236}">
                <a16:creationId xmlns:a16="http://schemas.microsoft.com/office/drawing/2014/main" id="{33C76C50-61C9-2C6F-D70B-1B11929FCEBE}"/>
              </a:ext>
            </a:extLst>
          </p:cNvPr>
          <p:cNvSpPr/>
          <p:nvPr/>
        </p:nvSpPr>
        <p:spPr>
          <a:xfrm>
            <a:off x="2747064" y="2859232"/>
            <a:ext cx="1600200" cy="800100"/>
          </a:xfrm>
          <a:custGeom>
            <a:avLst/>
            <a:gdLst/>
            <a:ahLst/>
            <a:cxnLst/>
            <a:rect l="0" t="0" r="0" b="0"/>
            <a:pathLst>
              <a:path w="1600200" h="800100">
                <a:moveTo>
                  <a:pt x="114300" y="0"/>
                </a:moveTo>
                <a:lnTo>
                  <a:pt x="1485900" y="0"/>
                </a:lnTo>
                <a:cubicBezTo>
                  <a:pt x="1485900" y="0"/>
                  <a:pt x="1600200" y="0"/>
                  <a:pt x="1600200" y="114300"/>
                </a:cubicBezTo>
                <a:lnTo>
                  <a:pt x="1600200" y="685800"/>
                </a:lnTo>
                <a:cubicBezTo>
                  <a:pt x="1600200" y="685800"/>
                  <a:pt x="1600200" y="800100"/>
                  <a:pt x="1485900" y="800100"/>
                </a:cubicBezTo>
                <a:lnTo>
                  <a:pt x="114300" y="800100"/>
                </a:lnTo>
                <a:cubicBezTo>
                  <a:pt x="114300" y="800100"/>
                  <a:pt x="0" y="800100"/>
                  <a:pt x="0" y="685800"/>
                </a:cubicBezTo>
                <a:lnTo>
                  <a:pt x="0" y="114300"/>
                </a:lnTo>
                <a:cubicBezTo>
                  <a:pt x="0" y="114300"/>
                  <a:pt x="0" y="0"/>
                  <a:pt x="114300" y="0"/>
                </a:cubicBezTo>
              </a:path>
            </a:pathLst>
          </a:custGeom>
          <a:solidFill>
            <a:schemeClr val="accent1"/>
          </a:solidFill>
          <a:ln>
            <a:solidFill>
              <a:schemeClr val="accent1"/>
            </a:solidFill>
          </a:ln>
        </p:spPr>
        <p:txBody>
          <a:bodyPr rtlCol="0" anchor="ctr"/>
          <a:lstStyle/>
          <a:p>
            <a:pPr algn="ctr"/>
            <a:endParaRPr/>
          </a:p>
        </p:txBody>
      </p:sp>
      <p:sp>
        <p:nvSpPr>
          <p:cNvPr id="31" name="Rounded Rectangle 2">
            <a:extLst>
              <a:ext uri="{FF2B5EF4-FFF2-40B4-BE49-F238E27FC236}">
                <a16:creationId xmlns:a16="http://schemas.microsoft.com/office/drawing/2014/main" id="{A437D863-759E-9701-7135-60F45BAFD0F8}"/>
              </a:ext>
            </a:extLst>
          </p:cNvPr>
          <p:cNvSpPr/>
          <p:nvPr/>
        </p:nvSpPr>
        <p:spPr>
          <a:xfrm>
            <a:off x="2747064" y="2859232"/>
            <a:ext cx="1600200" cy="800100"/>
          </a:xfrm>
          <a:custGeom>
            <a:avLst/>
            <a:gdLst/>
            <a:ahLst/>
            <a:cxnLst/>
            <a:rect l="0" t="0" r="0" b="0"/>
            <a:pathLst>
              <a:path w="1600200" h="800100">
                <a:moveTo>
                  <a:pt x="114300" y="0"/>
                </a:moveTo>
                <a:lnTo>
                  <a:pt x="1485900" y="0"/>
                </a:lnTo>
                <a:cubicBezTo>
                  <a:pt x="1485900" y="0"/>
                  <a:pt x="1600200" y="0"/>
                  <a:pt x="1600200" y="114300"/>
                </a:cubicBezTo>
                <a:lnTo>
                  <a:pt x="1600200" y="685800"/>
                </a:lnTo>
                <a:cubicBezTo>
                  <a:pt x="1600200" y="685800"/>
                  <a:pt x="1600200" y="800100"/>
                  <a:pt x="1485900" y="800100"/>
                </a:cubicBezTo>
                <a:lnTo>
                  <a:pt x="114300" y="800100"/>
                </a:lnTo>
                <a:cubicBezTo>
                  <a:pt x="114300" y="800100"/>
                  <a:pt x="0" y="800100"/>
                  <a:pt x="0" y="685800"/>
                </a:cubicBezTo>
                <a:lnTo>
                  <a:pt x="0" y="114300"/>
                </a:lnTo>
                <a:cubicBezTo>
                  <a:pt x="0" y="114300"/>
                  <a:pt x="0" y="0"/>
                  <a:pt x="114300" y="0"/>
                </a:cubicBezTo>
              </a:path>
            </a:pathLst>
          </a:custGeom>
          <a:noFill/>
          <a:ln w="14287">
            <a:solidFill>
              <a:srgbClr val="FFFFFF"/>
            </a:solidFill>
          </a:ln>
        </p:spPr>
        <p:txBody>
          <a:bodyPr rtlCol="0" anchor="ctr"/>
          <a:lstStyle/>
          <a:p>
            <a:pPr algn="ctr"/>
            <a:endParaRPr/>
          </a:p>
        </p:txBody>
      </p:sp>
      <p:sp>
        <p:nvSpPr>
          <p:cNvPr id="32" name="Rounded Rectangle 3">
            <a:extLst>
              <a:ext uri="{FF2B5EF4-FFF2-40B4-BE49-F238E27FC236}">
                <a16:creationId xmlns:a16="http://schemas.microsoft.com/office/drawing/2014/main" id="{83067CD3-93C8-664B-9D95-A24908A3BC86}"/>
              </a:ext>
            </a:extLst>
          </p:cNvPr>
          <p:cNvSpPr/>
          <p:nvPr/>
        </p:nvSpPr>
        <p:spPr>
          <a:xfrm>
            <a:off x="1070664" y="2859232"/>
            <a:ext cx="1485900" cy="800100"/>
          </a:xfrm>
          <a:custGeom>
            <a:avLst/>
            <a:gdLst/>
            <a:ahLst/>
            <a:cxnLst/>
            <a:rect l="0" t="0" r="0" b="0"/>
            <a:pathLst>
              <a:path w="1485900" h="800100">
                <a:moveTo>
                  <a:pt x="114300" y="0"/>
                </a:moveTo>
                <a:lnTo>
                  <a:pt x="1371600" y="0"/>
                </a:lnTo>
                <a:cubicBezTo>
                  <a:pt x="1371600" y="0"/>
                  <a:pt x="1485900" y="0"/>
                  <a:pt x="1485900" y="114300"/>
                </a:cubicBezTo>
                <a:lnTo>
                  <a:pt x="1485900" y="685800"/>
                </a:lnTo>
                <a:cubicBezTo>
                  <a:pt x="1485900" y="685800"/>
                  <a:pt x="1485900" y="800100"/>
                  <a:pt x="1371600" y="800100"/>
                </a:cubicBezTo>
                <a:lnTo>
                  <a:pt x="114300" y="800100"/>
                </a:lnTo>
                <a:cubicBezTo>
                  <a:pt x="114300" y="800100"/>
                  <a:pt x="0" y="800100"/>
                  <a:pt x="0" y="685800"/>
                </a:cubicBezTo>
                <a:lnTo>
                  <a:pt x="0" y="114300"/>
                </a:lnTo>
                <a:cubicBezTo>
                  <a:pt x="0" y="114300"/>
                  <a:pt x="0" y="0"/>
                  <a:pt x="114300" y="0"/>
                </a:cubicBezTo>
              </a:path>
            </a:pathLst>
          </a:custGeom>
          <a:solidFill>
            <a:schemeClr val="accent1"/>
          </a:solidFill>
          <a:ln>
            <a:solidFill>
              <a:schemeClr val="accent1"/>
            </a:solidFill>
          </a:ln>
        </p:spPr>
        <p:txBody>
          <a:bodyPr rtlCol="0" anchor="ctr"/>
          <a:lstStyle/>
          <a:p>
            <a:pPr algn="ctr"/>
            <a:endParaRPr/>
          </a:p>
        </p:txBody>
      </p:sp>
      <p:sp>
        <p:nvSpPr>
          <p:cNvPr id="33" name="Rounded Rectangle 4">
            <a:extLst>
              <a:ext uri="{FF2B5EF4-FFF2-40B4-BE49-F238E27FC236}">
                <a16:creationId xmlns:a16="http://schemas.microsoft.com/office/drawing/2014/main" id="{918B76A7-C856-B8D0-7A64-EB23EEE2D5D9}"/>
              </a:ext>
            </a:extLst>
          </p:cNvPr>
          <p:cNvSpPr/>
          <p:nvPr/>
        </p:nvSpPr>
        <p:spPr>
          <a:xfrm>
            <a:off x="1070664" y="2859232"/>
            <a:ext cx="1485900" cy="800100"/>
          </a:xfrm>
          <a:custGeom>
            <a:avLst/>
            <a:gdLst/>
            <a:ahLst/>
            <a:cxnLst/>
            <a:rect l="0" t="0" r="0" b="0"/>
            <a:pathLst>
              <a:path w="1485900" h="800100">
                <a:moveTo>
                  <a:pt x="114300" y="0"/>
                </a:moveTo>
                <a:lnTo>
                  <a:pt x="1371600" y="0"/>
                </a:lnTo>
                <a:cubicBezTo>
                  <a:pt x="1371600" y="0"/>
                  <a:pt x="1485900" y="0"/>
                  <a:pt x="1485900" y="114300"/>
                </a:cubicBezTo>
                <a:lnTo>
                  <a:pt x="1485900" y="685800"/>
                </a:lnTo>
                <a:cubicBezTo>
                  <a:pt x="1485900" y="685800"/>
                  <a:pt x="1485900" y="800100"/>
                  <a:pt x="1371600" y="800100"/>
                </a:cubicBezTo>
                <a:lnTo>
                  <a:pt x="114300" y="800100"/>
                </a:lnTo>
                <a:cubicBezTo>
                  <a:pt x="114300" y="800100"/>
                  <a:pt x="0" y="800100"/>
                  <a:pt x="0" y="685800"/>
                </a:cubicBezTo>
                <a:lnTo>
                  <a:pt x="0" y="114300"/>
                </a:lnTo>
                <a:cubicBezTo>
                  <a:pt x="0" y="114300"/>
                  <a:pt x="0" y="0"/>
                  <a:pt x="114300" y="0"/>
                </a:cubicBezTo>
              </a:path>
            </a:pathLst>
          </a:custGeom>
          <a:noFill/>
          <a:ln w="14287">
            <a:solidFill>
              <a:srgbClr val="FFFFFF"/>
            </a:solidFill>
          </a:ln>
        </p:spPr>
        <p:txBody>
          <a:bodyPr rtlCol="0" anchor="ctr"/>
          <a:lstStyle/>
          <a:p>
            <a:pPr algn="ctr"/>
            <a:endParaRPr/>
          </a:p>
        </p:txBody>
      </p:sp>
      <p:sp>
        <p:nvSpPr>
          <p:cNvPr id="34" name="Rounded Rectangle 5">
            <a:extLst>
              <a:ext uri="{FF2B5EF4-FFF2-40B4-BE49-F238E27FC236}">
                <a16:creationId xmlns:a16="http://schemas.microsoft.com/office/drawing/2014/main" id="{E0BEEC7B-3C36-6AAF-8336-47C249988BC6}"/>
              </a:ext>
            </a:extLst>
          </p:cNvPr>
          <p:cNvSpPr/>
          <p:nvPr/>
        </p:nvSpPr>
        <p:spPr>
          <a:xfrm>
            <a:off x="2804214" y="4192732"/>
            <a:ext cx="1485900" cy="514350"/>
          </a:xfrm>
          <a:custGeom>
            <a:avLst/>
            <a:gdLst/>
            <a:ahLst/>
            <a:cxnLst/>
            <a:rect l="0" t="0" r="0" b="0"/>
            <a:pathLst>
              <a:path w="1485900" h="514350">
                <a:moveTo>
                  <a:pt x="114300" y="0"/>
                </a:moveTo>
                <a:lnTo>
                  <a:pt x="1371600" y="0"/>
                </a:lnTo>
                <a:cubicBezTo>
                  <a:pt x="1371600" y="0"/>
                  <a:pt x="1485900" y="0"/>
                  <a:pt x="1485900" y="114300"/>
                </a:cubicBezTo>
                <a:lnTo>
                  <a:pt x="1485900" y="400050"/>
                </a:lnTo>
                <a:cubicBezTo>
                  <a:pt x="1485900" y="400050"/>
                  <a:pt x="1485900" y="514350"/>
                  <a:pt x="1371600" y="514350"/>
                </a:cubicBezTo>
                <a:lnTo>
                  <a:pt x="114300" y="514350"/>
                </a:lnTo>
                <a:cubicBezTo>
                  <a:pt x="114300" y="514350"/>
                  <a:pt x="0" y="514350"/>
                  <a:pt x="0" y="400050"/>
                </a:cubicBezTo>
                <a:lnTo>
                  <a:pt x="0" y="114300"/>
                </a:lnTo>
                <a:cubicBezTo>
                  <a:pt x="0" y="114300"/>
                  <a:pt x="0" y="0"/>
                  <a:pt x="114300" y="0"/>
                </a:cubicBezTo>
              </a:path>
            </a:pathLst>
          </a:custGeom>
          <a:solidFill>
            <a:schemeClr val="accent1">
              <a:lumMod val="60000"/>
              <a:lumOff val="40000"/>
            </a:schemeClr>
          </a:solidFill>
          <a:ln>
            <a:noFill/>
          </a:ln>
        </p:spPr>
        <p:txBody>
          <a:bodyPr rtlCol="0" anchor="ctr"/>
          <a:lstStyle/>
          <a:p>
            <a:pPr algn="ctr"/>
            <a:endParaRPr/>
          </a:p>
        </p:txBody>
      </p:sp>
      <p:sp>
        <p:nvSpPr>
          <p:cNvPr id="35" name="Rounded Rectangle 6">
            <a:extLst>
              <a:ext uri="{FF2B5EF4-FFF2-40B4-BE49-F238E27FC236}">
                <a16:creationId xmlns:a16="http://schemas.microsoft.com/office/drawing/2014/main" id="{810529B5-9851-9E77-D6C1-A5566507D369}"/>
              </a:ext>
            </a:extLst>
          </p:cNvPr>
          <p:cNvSpPr/>
          <p:nvPr/>
        </p:nvSpPr>
        <p:spPr>
          <a:xfrm>
            <a:off x="1070664" y="4192732"/>
            <a:ext cx="1485900" cy="514350"/>
          </a:xfrm>
          <a:custGeom>
            <a:avLst/>
            <a:gdLst/>
            <a:ahLst/>
            <a:cxnLst/>
            <a:rect l="0" t="0" r="0" b="0"/>
            <a:pathLst>
              <a:path w="1485900" h="514350">
                <a:moveTo>
                  <a:pt x="114300" y="0"/>
                </a:moveTo>
                <a:lnTo>
                  <a:pt x="1371600" y="0"/>
                </a:lnTo>
                <a:cubicBezTo>
                  <a:pt x="1371600" y="0"/>
                  <a:pt x="1485900" y="0"/>
                  <a:pt x="1485900" y="114300"/>
                </a:cubicBezTo>
                <a:lnTo>
                  <a:pt x="1485900" y="400050"/>
                </a:lnTo>
                <a:cubicBezTo>
                  <a:pt x="1485900" y="400050"/>
                  <a:pt x="1485900" y="514350"/>
                  <a:pt x="1371600" y="514350"/>
                </a:cubicBezTo>
                <a:lnTo>
                  <a:pt x="114300" y="514350"/>
                </a:lnTo>
                <a:cubicBezTo>
                  <a:pt x="114300" y="514350"/>
                  <a:pt x="0" y="514350"/>
                  <a:pt x="0" y="400050"/>
                </a:cubicBezTo>
                <a:lnTo>
                  <a:pt x="0" y="114300"/>
                </a:lnTo>
                <a:cubicBezTo>
                  <a:pt x="0" y="114300"/>
                  <a:pt x="0" y="0"/>
                  <a:pt x="114300" y="0"/>
                </a:cubicBezTo>
              </a:path>
            </a:pathLst>
          </a:custGeom>
          <a:solidFill>
            <a:schemeClr val="accent1">
              <a:lumMod val="60000"/>
              <a:lumOff val="40000"/>
            </a:schemeClr>
          </a:solidFill>
          <a:ln>
            <a:noFill/>
          </a:ln>
        </p:spPr>
        <p:txBody>
          <a:bodyPr rtlCol="0" anchor="ctr"/>
          <a:lstStyle/>
          <a:p>
            <a:pPr algn="ctr"/>
            <a:endParaRPr/>
          </a:p>
        </p:txBody>
      </p:sp>
      <p:sp>
        <p:nvSpPr>
          <p:cNvPr id="36" name="Rounded Rectangle 7">
            <a:extLst>
              <a:ext uri="{FF2B5EF4-FFF2-40B4-BE49-F238E27FC236}">
                <a16:creationId xmlns:a16="http://schemas.microsoft.com/office/drawing/2014/main" id="{909066D8-688E-D320-8C2A-6B134869A001}"/>
              </a:ext>
            </a:extLst>
          </p:cNvPr>
          <p:cNvSpPr/>
          <p:nvPr/>
        </p:nvSpPr>
        <p:spPr>
          <a:xfrm>
            <a:off x="2804214" y="4192732"/>
            <a:ext cx="1485900" cy="514350"/>
          </a:xfrm>
          <a:custGeom>
            <a:avLst/>
            <a:gdLst/>
            <a:ahLst/>
            <a:cxnLst/>
            <a:rect l="0" t="0" r="0" b="0"/>
            <a:pathLst>
              <a:path w="1485900" h="514350">
                <a:moveTo>
                  <a:pt x="114300" y="0"/>
                </a:moveTo>
                <a:lnTo>
                  <a:pt x="1371600" y="0"/>
                </a:lnTo>
                <a:cubicBezTo>
                  <a:pt x="1371600" y="0"/>
                  <a:pt x="1485900" y="0"/>
                  <a:pt x="1485900" y="114300"/>
                </a:cubicBezTo>
                <a:lnTo>
                  <a:pt x="1485900" y="400050"/>
                </a:lnTo>
                <a:cubicBezTo>
                  <a:pt x="1485900" y="400050"/>
                  <a:pt x="1485900" y="514350"/>
                  <a:pt x="1371600" y="514350"/>
                </a:cubicBezTo>
                <a:lnTo>
                  <a:pt x="114300" y="514350"/>
                </a:lnTo>
                <a:cubicBezTo>
                  <a:pt x="114300" y="514350"/>
                  <a:pt x="0" y="514350"/>
                  <a:pt x="0" y="400050"/>
                </a:cubicBezTo>
                <a:lnTo>
                  <a:pt x="0" y="114300"/>
                </a:lnTo>
                <a:cubicBezTo>
                  <a:pt x="0" y="114300"/>
                  <a:pt x="0" y="0"/>
                  <a:pt x="114300" y="0"/>
                </a:cubicBezTo>
              </a:path>
            </a:pathLst>
          </a:custGeom>
          <a:noFill/>
          <a:ln w="14287">
            <a:solidFill>
              <a:srgbClr val="FFFFFF"/>
            </a:solidFill>
          </a:ln>
        </p:spPr>
        <p:txBody>
          <a:bodyPr rtlCol="0" anchor="ctr"/>
          <a:lstStyle/>
          <a:p>
            <a:pPr algn="ctr"/>
            <a:endParaRPr/>
          </a:p>
        </p:txBody>
      </p:sp>
      <p:sp>
        <p:nvSpPr>
          <p:cNvPr id="37" name="Rounded Rectangle 8">
            <a:extLst>
              <a:ext uri="{FF2B5EF4-FFF2-40B4-BE49-F238E27FC236}">
                <a16:creationId xmlns:a16="http://schemas.microsoft.com/office/drawing/2014/main" id="{8B232BA7-15D2-7330-0F31-1009215DA8DD}"/>
              </a:ext>
            </a:extLst>
          </p:cNvPr>
          <p:cNvSpPr/>
          <p:nvPr/>
        </p:nvSpPr>
        <p:spPr>
          <a:xfrm>
            <a:off x="1070664" y="4192732"/>
            <a:ext cx="1485900" cy="514350"/>
          </a:xfrm>
          <a:custGeom>
            <a:avLst/>
            <a:gdLst/>
            <a:ahLst/>
            <a:cxnLst/>
            <a:rect l="0" t="0" r="0" b="0"/>
            <a:pathLst>
              <a:path w="1485900" h="514350">
                <a:moveTo>
                  <a:pt x="114300" y="0"/>
                </a:moveTo>
                <a:lnTo>
                  <a:pt x="1371600" y="0"/>
                </a:lnTo>
                <a:cubicBezTo>
                  <a:pt x="1371600" y="0"/>
                  <a:pt x="1485900" y="0"/>
                  <a:pt x="1485900" y="114300"/>
                </a:cubicBezTo>
                <a:lnTo>
                  <a:pt x="1485900" y="400050"/>
                </a:lnTo>
                <a:cubicBezTo>
                  <a:pt x="1485900" y="400050"/>
                  <a:pt x="1485900" y="514350"/>
                  <a:pt x="1371600" y="514350"/>
                </a:cubicBezTo>
                <a:lnTo>
                  <a:pt x="114300" y="514350"/>
                </a:lnTo>
                <a:cubicBezTo>
                  <a:pt x="114300" y="514350"/>
                  <a:pt x="0" y="514350"/>
                  <a:pt x="0" y="400050"/>
                </a:cubicBezTo>
                <a:lnTo>
                  <a:pt x="0" y="114300"/>
                </a:lnTo>
                <a:cubicBezTo>
                  <a:pt x="0" y="114300"/>
                  <a:pt x="0" y="0"/>
                  <a:pt x="114300" y="0"/>
                </a:cubicBezTo>
              </a:path>
            </a:pathLst>
          </a:custGeom>
          <a:noFill/>
          <a:ln w="14287">
            <a:solidFill>
              <a:srgbClr val="FFFFFF"/>
            </a:solidFill>
          </a:ln>
        </p:spPr>
        <p:txBody>
          <a:bodyPr rtlCol="0" anchor="ctr"/>
          <a:lstStyle/>
          <a:p>
            <a:pPr algn="ctr"/>
            <a:endParaRPr/>
          </a:p>
        </p:txBody>
      </p:sp>
      <p:sp>
        <p:nvSpPr>
          <p:cNvPr id="38" name="Rounded Rectangle 9">
            <a:extLst>
              <a:ext uri="{FF2B5EF4-FFF2-40B4-BE49-F238E27FC236}">
                <a16:creationId xmlns:a16="http://schemas.microsoft.com/office/drawing/2014/main" id="{FDD34790-C91C-A40B-FDFB-9A9B807C6E6A}"/>
              </a:ext>
            </a:extLst>
          </p:cNvPr>
          <p:cNvSpPr/>
          <p:nvPr/>
        </p:nvSpPr>
        <p:spPr>
          <a:xfrm>
            <a:off x="1966014" y="1811482"/>
            <a:ext cx="1371600" cy="514350"/>
          </a:xfrm>
          <a:custGeom>
            <a:avLst/>
            <a:gdLst/>
            <a:ahLst/>
            <a:cxnLst/>
            <a:rect l="0" t="0" r="0" b="0"/>
            <a:pathLst>
              <a:path w="1371600" h="514350">
                <a:moveTo>
                  <a:pt x="114300" y="0"/>
                </a:moveTo>
                <a:lnTo>
                  <a:pt x="1257300" y="0"/>
                </a:lnTo>
                <a:cubicBezTo>
                  <a:pt x="1257300" y="0"/>
                  <a:pt x="1371600" y="0"/>
                  <a:pt x="1371600" y="114300"/>
                </a:cubicBezTo>
                <a:lnTo>
                  <a:pt x="1371600" y="400050"/>
                </a:lnTo>
                <a:cubicBezTo>
                  <a:pt x="1371600" y="400050"/>
                  <a:pt x="1371600" y="514350"/>
                  <a:pt x="1257300" y="514350"/>
                </a:cubicBezTo>
                <a:lnTo>
                  <a:pt x="114300" y="514350"/>
                </a:lnTo>
                <a:cubicBezTo>
                  <a:pt x="114300" y="514350"/>
                  <a:pt x="0" y="514350"/>
                  <a:pt x="0" y="400050"/>
                </a:cubicBezTo>
                <a:lnTo>
                  <a:pt x="0" y="114300"/>
                </a:lnTo>
                <a:cubicBezTo>
                  <a:pt x="0" y="114300"/>
                  <a:pt x="0" y="0"/>
                  <a:pt x="114300" y="0"/>
                </a:cubicBezTo>
              </a:path>
            </a:pathLst>
          </a:custGeom>
          <a:solidFill>
            <a:srgbClr val="969696"/>
          </a:solidFill>
          <a:ln>
            <a:noFill/>
          </a:ln>
        </p:spPr>
        <p:txBody>
          <a:bodyPr rtlCol="0" anchor="ctr"/>
          <a:lstStyle/>
          <a:p>
            <a:pPr algn="ctr"/>
            <a:endParaRPr/>
          </a:p>
        </p:txBody>
      </p:sp>
      <p:sp>
        <p:nvSpPr>
          <p:cNvPr id="39" name="Rounded Rectangle 10">
            <a:extLst>
              <a:ext uri="{FF2B5EF4-FFF2-40B4-BE49-F238E27FC236}">
                <a16:creationId xmlns:a16="http://schemas.microsoft.com/office/drawing/2014/main" id="{06DACDB7-778B-78F9-3E60-69DE698C3C71}"/>
              </a:ext>
            </a:extLst>
          </p:cNvPr>
          <p:cNvSpPr/>
          <p:nvPr/>
        </p:nvSpPr>
        <p:spPr>
          <a:xfrm>
            <a:off x="1966014" y="1811482"/>
            <a:ext cx="1371600" cy="514350"/>
          </a:xfrm>
          <a:custGeom>
            <a:avLst/>
            <a:gdLst/>
            <a:ahLst/>
            <a:cxnLst/>
            <a:rect l="0" t="0" r="0" b="0"/>
            <a:pathLst>
              <a:path w="1371600" h="514350">
                <a:moveTo>
                  <a:pt x="114300" y="0"/>
                </a:moveTo>
                <a:lnTo>
                  <a:pt x="1257300" y="0"/>
                </a:lnTo>
                <a:cubicBezTo>
                  <a:pt x="1257300" y="0"/>
                  <a:pt x="1371600" y="0"/>
                  <a:pt x="1371600" y="114300"/>
                </a:cubicBezTo>
                <a:lnTo>
                  <a:pt x="1371600" y="400050"/>
                </a:lnTo>
                <a:cubicBezTo>
                  <a:pt x="1371600" y="400050"/>
                  <a:pt x="1371600" y="514350"/>
                  <a:pt x="1257300" y="514350"/>
                </a:cubicBezTo>
                <a:lnTo>
                  <a:pt x="114300" y="514350"/>
                </a:lnTo>
                <a:cubicBezTo>
                  <a:pt x="114300" y="514350"/>
                  <a:pt x="0" y="514350"/>
                  <a:pt x="0" y="400050"/>
                </a:cubicBezTo>
                <a:lnTo>
                  <a:pt x="0" y="114300"/>
                </a:lnTo>
                <a:cubicBezTo>
                  <a:pt x="0" y="114300"/>
                  <a:pt x="0" y="0"/>
                  <a:pt x="114300" y="0"/>
                </a:cubicBezTo>
              </a:path>
            </a:pathLst>
          </a:custGeom>
          <a:noFill/>
          <a:ln w="14287">
            <a:solidFill>
              <a:srgbClr val="FFFFFF"/>
            </a:solidFill>
          </a:ln>
        </p:spPr>
        <p:txBody>
          <a:bodyPr rtlCol="0" anchor="ctr"/>
          <a:lstStyle/>
          <a:p>
            <a:pPr algn="ctr"/>
            <a:endParaRPr/>
          </a:p>
        </p:txBody>
      </p:sp>
      <p:sp>
        <p:nvSpPr>
          <p:cNvPr id="40" name="Rounded Rectangle 11">
            <a:extLst>
              <a:ext uri="{FF2B5EF4-FFF2-40B4-BE49-F238E27FC236}">
                <a16:creationId xmlns:a16="http://schemas.microsoft.com/office/drawing/2014/main" id="{90F44594-4291-7DD2-7571-C06AD27D1780}"/>
              </a:ext>
            </a:extLst>
          </p:cNvPr>
          <p:cNvSpPr/>
          <p:nvPr/>
        </p:nvSpPr>
        <p:spPr>
          <a:xfrm>
            <a:off x="1184964" y="5240482"/>
            <a:ext cx="1257300" cy="514350"/>
          </a:xfrm>
          <a:custGeom>
            <a:avLst/>
            <a:gdLst/>
            <a:ahLst/>
            <a:cxnLst/>
            <a:rect l="0" t="0" r="0" b="0"/>
            <a:pathLst>
              <a:path w="1257300" h="514350">
                <a:moveTo>
                  <a:pt x="114300" y="0"/>
                </a:moveTo>
                <a:lnTo>
                  <a:pt x="1143000" y="0"/>
                </a:lnTo>
                <a:cubicBezTo>
                  <a:pt x="1143000" y="0"/>
                  <a:pt x="1257300" y="0"/>
                  <a:pt x="1257300" y="114300"/>
                </a:cubicBezTo>
                <a:lnTo>
                  <a:pt x="1257300" y="400050"/>
                </a:lnTo>
                <a:cubicBezTo>
                  <a:pt x="1257300" y="400050"/>
                  <a:pt x="1257300" y="514350"/>
                  <a:pt x="1143000" y="514350"/>
                </a:cubicBezTo>
                <a:lnTo>
                  <a:pt x="114300" y="514350"/>
                </a:lnTo>
                <a:cubicBezTo>
                  <a:pt x="114300" y="514350"/>
                  <a:pt x="0" y="514350"/>
                  <a:pt x="0" y="400050"/>
                </a:cubicBezTo>
                <a:lnTo>
                  <a:pt x="0" y="114300"/>
                </a:lnTo>
                <a:cubicBezTo>
                  <a:pt x="0" y="114300"/>
                  <a:pt x="0" y="0"/>
                  <a:pt x="114300" y="0"/>
                </a:cubicBezTo>
              </a:path>
            </a:pathLst>
          </a:custGeom>
          <a:solidFill>
            <a:srgbClr val="969696"/>
          </a:solidFill>
          <a:ln>
            <a:noFill/>
          </a:ln>
        </p:spPr>
        <p:txBody>
          <a:bodyPr rtlCol="0" anchor="ctr"/>
          <a:lstStyle/>
          <a:p>
            <a:pPr algn="ctr"/>
            <a:endParaRPr/>
          </a:p>
        </p:txBody>
      </p:sp>
      <p:sp>
        <p:nvSpPr>
          <p:cNvPr id="41" name="Rounded Rectangle 12">
            <a:extLst>
              <a:ext uri="{FF2B5EF4-FFF2-40B4-BE49-F238E27FC236}">
                <a16:creationId xmlns:a16="http://schemas.microsoft.com/office/drawing/2014/main" id="{BA42F902-EE16-F650-0EF7-E632AD20FD91}"/>
              </a:ext>
            </a:extLst>
          </p:cNvPr>
          <p:cNvSpPr/>
          <p:nvPr/>
        </p:nvSpPr>
        <p:spPr>
          <a:xfrm>
            <a:off x="1184964" y="5240482"/>
            <a:ext cx="1257300" cy="514350"/>
          </a:xfrm>
          <a:custGeom>
            <a:avLst/>
            <a:gdLst/>
            <a:ahLst/>
            <a:cxnLst/>
            <a:rect l="0" t="0" r="0" b="0"/>
            <a:pathLst>
              <a:path w="1257300" h="514350">
                <a:moveTo>
                  <a:pt x="114300" y="0"/>
                </a:moveTo>
                <a:lnTo>
                  <a:pt x="1143000" y="0"/>
                </a:lnTo>
                <a:cubicBezTo>
                  <a:pt x="1143000" y="0"/>
                  <a:pt x="1257300" y="0"/>
                  <a:pt x="1257300" y="114300"/>
                </a:cubicBezTo>
                <a:lnTo>
                  <a:pt x="1257300" y="400050"/>
                </a:lnTo>
                <a:cubicBezTo>
                  <a:pt x="1257300" y="400050"/>
                  <a:pt x="1257300" y="514350"/>
                  <a:pt x="1143000" y="514350"/>
                </a:cubicBezTo>
                <a:lnTo>
                  <a:pt x="114300" y="514350"/>
                </a:lnTo>
                <a:cubicBezTo>
                  <a:pt x="114300" y="514350"/>
                  <a:pt x="0" y="514350"/>
                  <a:pt x="0" y="400050"/>
                </a:cubicBezTo>
                <a:lnTo>
                  <a:pt x="0" y="114300"/>
                </a:lnTo>
                <a:cubicBezTo>
                  <a:pt x="0" y="114300"/>
                  <a:pt x="0" y="0"/>
                  <a:pt x="114300" y="0"/>
                </a:cubicBezTo>
              </a:path>
            </a:pathLst>
          </a:custGeom>
          <a:noFill/>
          <a:ln w="14287">
            <a:solidFill>
              <a:srgbClr val="FFFFFF"/>
            </a:solidFill>
          </a:ln>
        </p:spPr>
        <p:txBody>
          <a:bodyPr rtlCol="0" anchor="ctr"/>
          <a:lstStyle/>
          <a:p>
            <a:pPr algn="ctr"/>
            <a:endParaRPr/>
          </a:p>
        </p:txBody>
      </p:sp>
      <p:sp>
        <p:nvSpPr>
          <p:cNvPr id="42" name="Rounded Rectangle 13">
            <a:extLst>
              <a:ext uri="{FF2B5EF4-FFF2-40B4-BE49-F238E27FC236}">
                <a16:creationId xmlns:a16="http://schemas.microsoft.com/office/drawing/2014/main" id="{B654085E-0347-AF86-185D-8A29256E7D2D}"/>
              </a:ext>
            </a:extLst>
          </p:cNvPr>
          <p:cNvSpPr/>
          <p:nvPr/>
        </p:nvSpPr>
        <p:spPr>
          <a:xfrm>
            <a:off x="3032814" y="5240482"/>
            <a:ext cx="1028700" cy="514350"/>
          </a:xfrm>
          <a:custGeom>
            <a:avLst/>
            <a:gdLst/>
            <a:ahLst/>
            <a:cxnLst/>
            <a:rect l="0" t="0" r="0" b="0"/>
            <a:pathLst>
              <a:path w="1028700" h="514350">
                <a:moveTo>
                  <a:pt x="114300" y="0"/>
                </a:moveTo>
                <a:lnTo>
                  <a:pt x="914400" y="0"/>
                </a:lnTo>
                <a:cubicBezTo>
                  <a:pt x="914400" y="0"/>
                  <a:pt x="1028700" y="0"/>
                  <a:pt x="1028700" y="114300"/>
                </a:cubicBezTo>
                <a:lnTo>
                  <a:pt x="1028700" y="400050"/>
                </a:lnTo>
                <a:cubicBezTo>
                  <a:pt x="1028700" y="400050"/>
                  <a:pt x="1028700" y="514350"/>
                  <a:pt x="914400" y="514350"/>
                </a:cubicBezTo>
                <a:lnTo>
                  <a:pt x="114300" y="514350"/>
                </a:lnTo>
                <a:cubicBezTo>
                  <a:pt x="114300" y="514350"/>
                  <a:pt x="0" y="514350"/>
                  <a:pt x="0" y="400050"/>
                </a:cubicBezTo>
                <a:lnTo>
                  <a:pt x="0" y="114300"/>
                </a:lnTo>
                <a:cubicBezTo>
                  <a:pt x="0" y="114300"/>
                  <a:pt x="0" y="0"/>
                  <a:pt x="114300" y="0"/>
                </a:cubicBezTo>
              </a:path>
            </a:pathLst>
          </a:custGeom>
          <a:solidFill>
            <a:srgbClr val="969696"/>
          </a:solidFill>
          <a:ln>
            <a:noFill/>
          </a:ln>
        </p:spPr>
        <p:txBody>
          <a:bodyPr rtlCol="0" anchor="ctr"/>
          <a:lstStyle/>
          <a:p>
            <a:pPr algn="ctr"/>
            <a:endParaRPr/>
          </a:p>
        </p:txBody>
      </p:sp>
      <p:sp>
        <p:nvSpPr>
          <p:cNvPr id="43" name="Rounded Rectangle 14">
            <a:extLst>
              <a:ext uri="{FF2B5EF4-FFF2-40B4-BE49-F238E27FC236}">
                <a16:creationId xmlns:a16="http://schemas.microsoft.com/office/drawing/2014/main" id="{9C79DE54-767B-5C04-CC80-A8E9A983A0C1}"/>
              </a:ext>
            </a:extLst>
          </p:cNvPr>
          <p:cNvSpPr/>
          <p:nvPr/>
        </p:nvSpPr>
        <p:spPr>
          <a:xfrm>
            <a:off x="3032814" y="5240482"/>
            <a:ext cx="1028700" cy="514350"/>
          </a:xfrm>
          <a:custGeom>
            <a:avLst/>
            <a:gdLst/>
            <a:ahLst/>
            <a:cxnLst/>
            <a:rect l="0" t="0" r="0" b="0"/>
            <a:pathLst>
              <a:path w="1028700" h="514350">
                <a:moveTo>
                  <a:pt x="114300" y="0"/>
                </a:moveTo>
                <a:lnTo>
                  <a:pt x="914400" y="0"/>
                </a:lnTo>
                <a:cubicBezTo>
                  <a:pt x="914400" y="0"/>
                  <a:pt x="1028700" y="0"/>
                  <a:pt x="1028700" y="114300"/>
                </a:cubicBezTo>
                <a:lnTo>
                  <a:pt x="1028700" y="400050"/>
                </a:lnTo>
                <a:cubicBezTo>
                  <a:pt x="1028700" y="400050"/>
                  <a:pt x="1028700" y="514350"/>
                  <a:pt x="914400" y="514350"/>
                </a:cubicBezTo>
                <a:lnTo>
                  <a:pt x="114300" y="514350"/>
                </a:lnTo>
                <a:cubicBezTo>
                  <a:pt x="114300" y="514350"/>
                  <a:pt x="0" y="514350"/>
                  <a:pt x="0" y="400050"/>
                </a:cubicBezTo>
                <a:lnTo>
                  <a:pt x="0" y="114300"/>
                </a:lnTo>
                <a:cubicBezTo>
                  <a:pt x="0" y="114300"/>
                  <a:pt x="0" y="0"/>
                  <a:pt x="114300" y="0"/>
                </a:cubicBezTo>
              </a:path>
            </a:pathLst>
          </a:custGeom>
          <a:noFill/>
          <a:ln w="14287">
            <a:solidFill>
              <a:srgbClr val="FFFFFF"/>
            </a:solidFill>
          </a:ln>
        </p:spPr>
        <p:txBody>
          <a:bodyPr rtlCol="0" anchor="ctr"/>
          <a:lstStyle/>
          <a:p>
            <a:pPr algn="ctr"/>
            <a:endParaRPr/>
          </a:p>
        </p:txBody>
      </p:sp>
      <p:grpSp>
        <p:nvGrpSpPr>
          <p:cNvPr id="44" name="Group 43">
            <a:extLst>
              <a:ext uri="{FF2B5EF4-FFF2-40B4-BE49-F238E27FC236}">
                <a16:creationId xmlns:a16="http://schemas.microsoft.com/office/drawing/2014/main" id="{B502EE54-1FBB-2C09-660F-36BB03574271}"/>
              </a:ext>
            </a:extLst>
          </p:cNvPr>
          <p:cNvGrpSpPr/>
          <p:nvPr/>
        </p:nvGrpSpPr>
        <p:grpSpPr>
          <a:xfrm>
            <a:off x="1751702" y="2325832"/>
            <a:ext cx="900113" cy="519112"/>
            <a:chOff x="1100137" y="2000250"/>
            <a:chExt cx="900113" cy="519112"/>
          </a:xfrm>
        </p:grpSpPr>
        <p:sp>
          <p:nvSpPr>
            <p:cNvPr id="45" name="Rounded Rectangle 16">
              <a:extLst>
                <a:ext uri="{FF2B5EF4-FFF2-40B4-BE49-F238E27FC236}">
                  <a16:creationId xmlns:a16="http://schemas.microsoft.com/office/drawing/2014/main" id="{4AC844B2-AD4B-80DB-42FF-2CE1374E1CD9}"/>
                </a:ext>
              </a:extLst>
            </p:cNvPr>
            <p:cNvSpPr/>
            <p:nvPr/>
          </p:nvSpPr>
          <p:spPr>
            <a:xfrm>
              <a:off x="1162050" y="2000250"/>
              <a:ext cx="838200" cy="514350"/>
            </a:xfrm>
            <a:custGeom>
              <a:avLst/>
              <a:gdLst/>
              <a:ahLst/>
              <a:cxnLst/>
              <a:rect l="0" t="0" r="0" b="0"/>
              <a:pathLst>
                <a:path w="838200" h="514350">
                  <a:moveTo>
                    <a:pt x="838200" y="0"/>
                  </a:moveTo>
                  <a:lnTo>
                    <a:pt x="838200" y="133350"/>
                  </a:lnTo>
                  <a:lnTo>
                    <a:pt x="838200" y="266700"/>
                  </a:lnTo>
                  <a:lnTo>
                    <a:pt x="419100" y="266700"/>
                  </a:lnTo>
                  <a:lnTo>
                    <a:pt x="0" y="266700"/>
                  </a:lnTo>
                  <a:lnTo>
                    <a:pt x="0" y="400050"/>
                  </a:lnTo>
                  <a:lnTo>
                    <a:pt x="0" y="514350"/>
                  </a:lnTo>
                </a:path>
              </a:pathLst>
            </a:custGeom>
            <a:noFill/>
            <a:ln w="14287">
              <a:solidFill>
                <a:srgbClr val="484848"/>
              </a:solidFill>
            </a:ln>
          </p:spPr>
          <p:txBody>
            <a:bodyPr rtlCol="0" anchor="ctr"/>
            <a:lstStyle/>
            <a:p>
              <a:pPr algn="ctr"/>
              <a:endParaRPr/>
            </a:p>
          </p:txBody>
        </p:sp>
        <p:sp>
          <p:nvSpPr>
            <p:cNvPr id="46" name="Rounded Rectangle 17">
              <a:extLst>
                <a:ext uri="{FF2B5EF4-FFF2-40B4-BE49-F238E27FC236}">
                  <a16:creationId xmlns:a16="http://schemas.microsoft.com/office/drawing/2014/main" id="{82BCC39B-5DEF-0B61-28DA-28A136A98754}"/>
                </a:ext>
              </a:extLst>
            </p:cNvPr>
            <p:cNvSpPr/>
            <p:nvPr/>
          </p:nvSpPr>
          <p:spPr>
            <a:xfrm>
              <a:off x="1100137" y="2457450"/>
              <a:ext cx="123825" cy="61912"/>
            </a:xfrm>
            <a:custGeom>
              <a:avLst/>
              <a:gdLst/>
              <a:ahLst/>
              <a:cxnLst/>
              <a:rect l="0" t="0" r="0" b="0"/>
              <a:pathLst>
                <a:path w="123825" h="61912">
                  <a:moveTo>
                    <a:pt x="0" y="0"/>
                  </a:moveTo>
                  <a:lnTo>
                    <a:pt x="61912" y="61912"/>
                  </a:lnTo>
                  <a:lnTo>
                    <a:pt x="123825" y="0"/>
                  </a:lnTo>
                </a:path>
              </a:pathLst>
            </a:custGeom>
            <a:noFill/>
            <a:ln w="14287">
              <a:solidFill>
                <a:srgbClr val="484848"/>
              </a:solidFill>
            </a:ln>
          </p:spPr>
          <p:txBody>
            <a:bodyPr rtlCol="0" anchor="ctr"/>
            <a:lstStyle/>
            <a:p>
              <a:pPr algn="ctr"/>
              <a:endParaRPr/>
            </a:p>
          </p:txBody>
        </p:sp>
      </p:grpSp>
      <p:grpSp>
        <p:nvGrpSpPr>
          <p:cNvPr id="47" name="Group 46">
            <a:extLst>
              <a:ext uri="{FF2B5EF4-FFF2-40B4-BE49-F238E27FC236}">
                <a16:creationId xmlns:a16="http://schemas.microsoft.com/office/drawing/2014/main" id="{37432769-FDC4-5233-6456-D872F2A22396}"/>
              </a:ext>
            </a:extLst>
          </p:cNvPr>
          <p:cNvGrpSpPr/>
          <p:nvPr/>
        </p:nvGrpSpPr>
        <p:grpSpPr>
          <a:xfrm>
            <a:off x="2651814" y="2325832"/>
            <a:ext cx="957262" cy="519112"/>
            <a:chOff x="2000250" y="2000250"/>
            <a:chExt cx="957262" cy="519112"/>
          </a:xfrm>
        </p:grpSpPr>
        <p:sp>
          <p:nvSpPr>
            <p:cNvPr id="48" name="Rounded Rectangle 19">
              <a:extLst>
                <a:ext uri="{FF2B5EF4-FFF2-40B4-BE49-F238E27FC236}">
                  <a16:creationId xmlns:a16="http://schemas.microsoft.com/office/drawing/2014/main" id="{55B5DCE9-8F1A-AF0B-3BA6-CF75F0DA077C}"/>
                </a:ext>
              </a:extLst>
            </p:cNvPr>
            <p:cNvSpPr/>
            <p:nvPr/>
          </p:nvSpPr>
          <p:spPr>
            <a:xfrm>
              <a:off x="2000250" y="2000250"/>
              <a:ext cx="895350" cy="514350"/>
            </a:xfrm>
            <a:custGeom>
              <a:avLst/>
              <a:gdLst/>
              <a:ahLst/>
              <a:cxnLst/>
              <a:rect l="0" t="0" r="0" b="0"/>
              <a:pathLst>
                <a:path w="895350" h="514350">
                  <a:moveTo>
                    <a:pt x="0" y="0"/>
                  </a:moveTo>
                  <a:lnTo>
                    <a:pt x="0" y="133350"/>
                  </a:lnTo>
                  <a:lnTo>
                    <a:pt x="0" y="266700"/>
                  </a:lnTo>
                  <a:lnTo>
                    <a:pt x="447675" y="266700"/>
                  </a:lnTo>
                  <a:lnTo>
                    <a:pt x="895350" y="266700"/>
                  </a:lnTo>
                  <a:lnTo>
                    <a:pt x="895350" y="400050"/>
                  </a:lnTo>
                  <a:lnTo>
                    <a:pt x="895350" y="514350"/>
                  </a:lnTo>
                </a:path>
              </a:pathLst>
            </a:custGeom>
            <a:noFill/>
            <a:ln w="14287">
              <a:solidFill>
                <a:srgbClr val="484848"/>
              </a:solidFill>
            </a:ln>
          </p:spPr>
          <p:txBody>
            <a:bodyPr rtlCol="0" anchor="ctr"/>
            <a:lstStyle/>
            <a:p>
              <a:pPr algn="ctr"/>
              <a:endParaRPr/>
            </a:p>
          </p:txBody>
        </p:sp>
        <p:sp>
          <p:nvSpPr>
            <p:cNvPr id="49" name="Rounded Rectangle 20">
              <a:extLst>
                <a:ext uri="{FF2B5EF4-FFF2-40B4-BE49-F238E27FC236}">
                  <a16:creationId xmlns:a16="http://schemas.microsoft.com/office/drawing/2014/main" id="{C9BCD9F7-E6BF-DD59-2679-7A7FE99EE993}"/>
                </a:ext>
              </a:extLst>
            </p:cNvPr>
            <p:cNvSpPr/>
            <p:nvPr/>
          </p:nvSpPr>
          <p:spPr>
            <a:xfrm>
              <a:off x="2833687" y="2457450"/>
              <a:ext cx="123825" cy="61912"/>
            </a:xfrm>
            <a:custGeom>
              <a:avLst/>
              <a:gdLst/>
              <a:ahLst/>
              <a:cxnLst/>
              <a:rect l="0" t="0" r="0" b="0"/>
              <a:pathLst>
                <a:path w="123825" h="61912">
                  <a:moveTo>
                    <a:pt x="0" y="0"/>
                  </a:moveTo>
                  <a:lnTo>
                    <a:pt x="61912" y="61912"/>
                  </a:lnTo>
                  <a:lnTo>
                    <a:pt x="123825" y="0"/>
                  </a:lnTo>
                </a:path>
              </a:pathLst>
            </a:custGeom>
            <a:noFill/>
            <a:ln w="14287">
              <a:solidFill>
                <a:srgbClr val="484848"/>
              </a:solidFill>
            </a:ln>
          </p:spPr>
          <p:txBody>
            <a:bodyPr rtlCol="0" anchor="ctr"/>
            <a:lstStyle/>
            <a:p>
              <a:pPr algn="ctr"/>
              <a:endParaRPr/>
            </a:p>
          </p:txBody>
        </p:sp>
      </p:grpSp>
      <p:grpSp>
        <p:nvGrpSpPr>
          <p:cNvPr id="50" name="Group 49">
            <a:extLst>
              <a:ext uri="{FF2B5EF4-FFF2-40B4-BE49-F238E27FC236}">
                <a16:creationId xmlns:a16="http://schemas.microsoft.com/office/drawing/2014/main" id="{D92CC5DB-B525-5CC7-5589-AE5BDD99E97A}"/>
              </a:ext>
            </a:extLst>
          </p:cNvPr>
          <p:cNvGrpSpPr/>
          <p:nvPr/>
        </p:nvGrpSpPr>
        <p:grpSpPr>
          <a:xfrm>
            <a:off x="3485252" y="4707082"/>
            <a:ext cx="123825" cy="519112"/>
            <a:chOff x="2833687" y="4381500"/>
            <a:chExt cx="123825" cy="519112"/>
          </a:xfrm>
        </p:grpSpPr>
        <p:sp>
          <p:nvSpPr>
            <p:cNvPr id="51" name="Rounded Rectangle 22">
              <a:extLst>
                <a:ext uri="{FF2B5EF4-FFF2-40B4-BE49-F238E27FC236}">
                  <a16:creationId xmlns:a16="http://schemas.microsoft.com/office/drawing/2014/main" id="{9FDC0C03-8B53-EEF3-67A6-EDDDC4800F02}"/>
                </a:ext>
              </a:extLst>
            </p:cNvPr>
            <p:cNvSpPr/>
            <p:nvPr/>
          </p:nvSpPr>
          <p:spPr>
            <a:xfrm>
              <a:off x="2895600" y="4381500"/>
              <a:ext cx="9525" cy="514350"/>
            </a:xfrm>
            <a:custGeom>
              <a:avLst/>
              <a:gdLst/>
              <a:ahLst/>
              <a:cxnLst/>
              <a:rect l="0" t="0" r="0" b="0"/>
              <a:pathLst>
                <a:path w="9525" h="514350">
                  <a:moveTo>
                    <a:pt x="0" y="0"/>
                  </a:moveTo>
                  <a:lnTo>
                    <a:pt x="0" y="266700"/>
                  </a:lnTo>
                  <a:lnTo>
                    <a:pt x="0" y="514350"/>
                  </a:lnTo>
                </a:path>
              </a:pathLst>
            </a:custGeom>
            <a:noFill/>
            <a:ln w="14287">
              <a:solidFill>
                <a:srgbClr val="484848"/>
              </a:solidFill>
            </a:ln>
          </p:spPr>
          <p:txBody>
            <a:bodyPr rtlCol="0" anchor="ctr"/>
            <a:lstStyle/>
            <a:p>
              <a:pPr algn="ctr"/>
              <a:endParaRPr/>
            </a:p>
          </p:txBody>
        </p:sp>
        <p:sp>
          <p:nvSpPr>
            <p:cNvPr id="52" name="Rounded Rectangle 23">
              <a:extLst>
                <a:ext uri="{FF2B5EF4-FFF2-40B4-BE49-F238E27FC236}">
                  <a16:creationId xmlns:a16="http://schemas.microsoft.com/office/drawing/2014/main" id="{3136B7DD-D391-B252-FC13-985513CDB254}"/>
                </a:ext>
              </a:extLst>
            </p:cNvPr>
            <p:cNvSpPr/>
            <p:nvPr/>
          </p:nvSpPr>
          <p:spPr>
            <a:xfrm>
              <a:off x="2833687" y="4838700"/>
              <a:ext cx="123825" cy="61912"/>
            </a:xfrm>
            <a:custGeom>
              <a:avLst/>
              <a:gdLst/>
              <a:ahLst/>
              <a:cxnLst/>
              <a:rect l="0" t="0" r="0" b="0"/>
              <a:pathLst>
                <a:path w="123825" h="61912">
                  <a:moveTo>
                    <a:pt x="0" y="0"/>
                  </a:moveTo>
                  <a:lnTo>
                    <a:pt x="61912" y="61912"/>
                  </a:lnTo>
                  <a:lnTo>
                    <a:pt x="123825" y="0"/>
                  </a:lnTo>
                </a:path>
              </a:pathLst>
            </a:custGeom>
            <a:noFill/>
            <a:ln w="14287">
              <a:solidFill>
                <a:srgbClr val="484848"/>
              </a:solidFill>
            </a:ln>
          </p:spPr>
          <p:txBody>
            <a:bodyPr rtlCol="0" anchor="ctr"/>
            <a:lstStyle/>
            <a:p>
              <a:pPr algn="ctr"/>
              <a:endParaRPr/>
            </a:p>
          </p:txBody>
        </p:sp>
      </p:grpSp>
      <p:grpSp>
        <p:nvGrpSpPr>
          <p:cNvPr id="53" name="Group 52">
            <a:extLst>
              <a:ext uri="{FF2B5EF4-FFF2-40B4-BE49-F238E27FC236}">
                <a16:creationId xmlns:a16="http://schemas.microsoft.com/office/drawing/2014/main" id="{F9F9CA00-08C3-0BAB-370F-5E3FD026E177}"/>
              </a:ext>
            </a:extLst>
          </p:cNvPr>
          <p:cNvGrpSpPr/>
          <p:nvPr/>
        </p:nvGrpSpPr>
        <p:grpSpPr>
          <a:xfrm>
            <a:off x="1751702" y="4707082"/>
            <a:ext cx="123825" cy="519112"/>
            <a:chOff x="1100137" y="4381500"/>
            <a:chExt cx="123825" cy="519112"/>
          </a:xfrm>
        </p:grpSpPr>
        <p:sp>
          <p:nvSpPr>
            <p:cNvPr id="54" name="Rounded Rectangle 25">
              <a:extLst>
                <a:ext uri="{FF2B5EF4-FFF2-40B4-BE49-F238E27FC236}">
                  <a16:creationId xmlns:a16="http://schemas.microsoft.com/office/drawing/2014/main" id="{95E6D2DE-CC6D-BB91-18D8-D8AF05772B8C}"/>
                </a:ext>
              </a:extLst>
            </p:cNvPr>
            <p:cNvSpPr/>
            <p:nvPr/>
          </p:nvSpPr>
          <p:spPr>
            <a:xfrm>
              <a:off x="1162050" y="4381500"/>
              <a:ext cx="9525" cy="514350"/>
            </a:xfrm>
            <a:custGeom>
              <a:avLst/>
              <a:gdLst/>
              <a:ahLst/>
              <a:cxnLst/>
              <a:rect l="0" t="0" r="0" b="0"/>
              <a:pathLst>
                <a:path w="9525" h="514350">
                  <a:moveTo>
                    <a:pt x="0" y="0"/>
                  </a:moveTo>
                  <a:lnTo>
                    <a:pt x="0" y="266700"/>
                  </a:lnTo>
                  <a:lnTo>
                    <a:pt x="0" y="514350"/>
                  </a:lnTo>
                </a:path>
              </a:pathLst>
            </a:custGeom>
            <a:noFill/>
            <a:ln w="14287">
              <a:solidFill>
                <a:srgbClr val="484848"/>
              </a:solidFill>
            </a:ln>
          </p:spPr>
          <p:txBody>
            <a:bodyPr rtlCol="0" anchor="ctr"/>
            <a:lstStyle/>
            <a:p>
              <a:pPr algn="ctr"/>
              <a:endParaRPr/>
            </a:p>
          </p:txBody>
        </p:sp>
        <p:sp>
          <p:nvSpPr>
            <p:cNvPr id="55" name="Rounded Rectangle 26">
              <a:extLst>
                <a:ext uri="{FF2B5EF4-FFF2-40B4-BE49-F238E27FC236}">
                  <a16:creationId xmlns:a16="http://schemas.microsoft.com/office/drawing/2014/main" id="{8AA6D596-91ED-02D3-AABC-EA9F33416C5D}"/>
                </a:ext>
              </a:extLst>
            </p:cNvPr>
            <p:cNvSpPr/>
            <p:nvPr/>
          </p:nvSpPr>
          <p:spPr>
            <a:xfrm>
              <a:off x="1100137" y="4838700"/>
              <a:ext cx="123825" cy="61912"/>
            </a:xfrm>
            <a:custGeom>
              <a:avLst/>
              <a:gdLst/>
              <a:ahLst/>
              <a:cxnLst/>
              <a:rect l="0" t="0" r="0" b="0"/>
              <a:pathLst>
                <a:path w="123825" h="61912">
                  <a:moveTo>
                    <a:pt x="0" y="0"/>
                  </a:moveTo>
                  <a:lnTo>
                    <a:pt x="61912" y="61912"/>
                  </a:lnTo>
                  <a:lnTo>
                    <a:pt x="123825" y="0"/>
                  </a:lnTo>
                </a:path>
              </a:pathLst>
            </a:custGeom>
            <a:noFill/>
            <a:ln w="14287">
              <a:solidFill>
                <a:srgbClr val="484848"/>
              </a:solidFill>
            </a:ln>
          </p:spPr>
          <p:txBody>
            <a:bodyPr rtlCol="0" anchor="ctr"/>
            <a:lstStyle/>
            <a:p>
              <a:pPr algn="ctr"/>
              <a:endParaRPr/>
            </a:p>
          </p:txBody>
        </p:sp>
      </p:grpSp>
      <p:grpSp>
        <p:nvGrpSpPr>
          <p:cNvPr id="56" name="Group 55">
            <a:extLst>
              <a:ext uri="{FF2B5EF4-FFF2-40B4-BE49-F238E27FC236}">
                <a16:creationId xmlns:a16="http://schemas.microsoft.com/office/drawing/2014/main" id="{BD6713AF-2A21-6274-7F9F-6842B47F5DFE}"/>
              </a:ext>
            </a:extLst>
          </p:cNvPr>
          <p:cNvGrpSpPr/>
          <p:nvPr/>
        </p:nvGrpSpPr>
        <p:grpSpPr>
          <a:xfrm>
            <a:off x="1751702" y="3659332"/>
            <a:ext cx="123825" cy="519112"/>
            <a:chOff x="1100137" y="3333750"/>
            <a:chExt cx="123825" cy="519112"/>
          </a:xfrm>
        </p:grpSpPr>
        <p:sp>
          <p:nvSpPr>
            <p:cNvPr id="57" name="Rounded Rectangle 28">
              <a:extLst>
                <a:ext uri="{FF2B5EF4-FFF2-40B4-BE49-F238E27FC236}">
                  <a16:creationId xmlns:a16="http://schemas.microsoft.com/office/drawing/2014/main" id="{04F49D43-67F9-1A9E-A13E-004C2F2AA675}"/>
                </a:ext>
              </a:extLst>
            </p:cNvPr>
            <p:cNvSpPr/>
            <p:nvPr/>
          </p:nvSpPr>
          <p:spPr>
            <a:xfrm>
              <a:off x="1162050" y="3333750"/>
              <a:ext cx="9525" cy="514350"/>
            </a:xfrm>
            <a:custGeom>
              <a:avLst/>
              <a:gdLst/>
              <a:ahLst/>
              <a:cxnLst/>
              <a:rect l="0" t="0" r="0" b="0"/>
              <a:pathLst>
                <a:path w="9525" h="514350">
                  <a:moveTo>
                    <a:pt x="0" y="0"/>
                  </a:moveTo>
                  <a:lnTo>
                    <a:pt x="0" y="266700"/>
                  </a:lnTo>
                  <a:lnTo>
                    <a:pt x="0" y="514350"/>
                  </a:lnTo>
                </a:path>
              </a:pathLst>
            </a:custGeom>
            <a:noFill/>
            <a:ln w="14287">
              <a:solidFill>
                <a:srgbClr val="484848"/>
              </a:solidFill>
            </a:ln>
          </p:spPr>
          <p:txBody>
            <a:bodyPr rtlCol="0" anchor="ctr"/>
            <a:lstStyle/>
            <a:p>
              <a:pPr algn="ctr"/>
              <a:endParaRPr/>
            </a:p>
          </p:txBody>
        </p:sp>
        <p:sp>
          <p:nvSpPr>
            <p:cNvPr id="58" name="Rounded Rectangle 29">
              <a:extLst>
                <a:ext uri="{FF2B5EF4-FFF2-40B4-BE49-F238E27FC236}">
                  <a16:creationId xmlns:a16="http://schemas.microsoft.com/office/drawing/2014/main" id="{DBFC158A-E4D3-C07C-EFB9-79F20E9DD293}"/>
                </a:ext>
              </a:extLst>
            </p:cNvPr>
            <p:cNvSpPr/>
            <p:nvPr/>
          </p:nvSpPr>
          <p:spPr>
            <a:xfrm>
              <a:off x="1100137" y="3790950"/>
              <a:ext cx="123825" cy="61912"/>
            </a:xfrm>
            <a:custGeom>
              <a:avLst/>
              <a:gdLst/>
              <a:ahLst/>
              <a:cxnLst/>
              <a:rect l="0" t="0" r="0" b="0"/>
              <a:pathLst>
                <a:path w="123825" h="61912">
                  <a:moveTo>
                    <a:pt x="0" y="0"/>
                  </a:moveTo>
                  <a:lnTo>
                    <a:pt x="61912" y="61912"/>
                  </a:lnTo>
                  <a:lnTo>
                    <a:pt x="123825" y="0"/>
                  </a:lnTo>
                </a:path>
              </a:pathLst>
            </a:custGeom>
            <a:noFill/>
            <a:ln w="14287">
              <a:solidFill>
                <a:srgbClr val="484848"/>
              </a:solidFill>
            </a:ln>
          </p:spPr>
          <p:txBody>
            <a:bodyPr rtlCol="0" anchor="ctr"/>
            <a:lstStyle/>
            <a:p>
              <a:pPr algn="ctr"/>
              <a:endParaRPr/>
            </a:p>
          </p:txBody>
        </p:sp>
      </p:grpSp>
      <p:grpSp>
        <p:nvGrpSpPr>
          <p:cNvPr id="59" name="Group 58">
            <a:extLst>
              <a:ext uri="{FF2B5EF4-FFF2-40B4-BE49-F238E27FC236}">
                <a16:creationId xmlns:a16="http://schemas.microsoft.com/office/drawing/2014/main" id="{17332C53-199C-B839-920E-12D36A811A05}"/>
              </a:ext>
            </a:extLst>
          </p:cNvPr>
          <p:cNvGrpSpPr/>
          <p:nvPr/>
        </p:nvGrpSpPr>
        <p:grpSpPr>
          <a:xfrm>
            <a:off x="3485252" y="3659332"/>
            <a:ext cx="123825" cy="519112"/>
            <a:chOff x="2833687" y="3333750"/>
            <a:chExt cx="123825" cy="519112"/>
          </a:xfrm>
        </p:grpSpPr>
        <p:sp>
          <p:nvSpPr>
            <p:cNvPr id="60" name="Rounded Rectangle 31">
              <a:extLst>
                <a:ext uri="{FF2B5EF4-FFF2-40B4-BE49-F238E27FC236}">
                  <a16:creationId xmlns:a16="http://schemas.microsoft.com/office/drawing/2014/main" id="{CD0B3AD1-6466-36CA-65B1-77CC65F61469}"/>
                </a:ext>
              </a:extLst>
            </p:cNvPr>
            <p:cNvSpPr/>
            <p:nvPr/>
          </p:nvSpPr>
          <p:spPr>
            <a:xfrm>
              <a:off x="2895600" y="3333750"/>
              <a:ext cx="9525" cy="514350"/>
            </a:xfrm>
            <a:custGeom>
              <a:avLst/>
              <a:gdLst/>
              <a:ahLst/>
              <a:cxnLst/>
              <a:rect l="0" t="0" r="0" b="0"/>
              <a:pathLst>
                <a:path w="9525" h="514350">
                  <a:moveTo>
                    <a:pt x="0" y="0"/>
                  </a:moveTo>
                  <a:lnTo>
                    <a:pt x="0" y="266700"/>
                  </a:lnTo>
                  <a:lnTo>
                    <a:pt x="0" y="514350"/>
                  </a:lnTo>
                </a:path>
              </a:pathLst>
            </a:custGeom>
            <a:noFill/>
            <a:ln w="14287">
              <a:solidFill>
                <a:srgbClr val="484848"/>
              </a:solidFill>
            </a:ln>
          </p:spPr>
          <p:txBody>
            <a:bodyPr rtlCol="0" anchor="ctr"/>
            <a:lstStyle/>
            <a:p>
              <a:pPr algn="ctr"/>
              <a:endParaRPr/>
            </a:p>
          </p:txBody>
        </p:sp>
        <p:sp>
          <p:nvSpPr>
            <p:cNvPr id="61" name="Rounded Rectangle 32">
              <a:extLst>
                <a:ext uri="{FF2B5EF4-FFF2-40B4-BE49-F238E27FC236}">
                  <a16:creationId xmlns:a16="http://schemas.microsoft.com/office/drawing/2014/main" id="{86636590-340C-8D1B-CF19-A50D9ECB17FF}"/>
                </a:ext>
              </a:extLst>
            </p:cNvPr>
            <p:cNvSpPr/>
            <p:nvPr/>
          </p:nvSpPr>
          <p:spPr>
            <a:xfrm>
              <a:off x="2833687" y="3790950"/>
              <a:ext cx="123825" cy="61912"/>
            </a:xfrm>
            <a:custGeom>
              <a:avLst/>
              <a:gdLst/>
              <a:ahLst/>
              <a:cxnLst/>
              <a:rect l="0" t="0" r="0" b="0"/>
              <a:pathLst>
                <a:path w="123825" h="61912">
                  <a:moveTo>
                    <a:pt x="0" y="0"/>
                  </a:moveTo>
                  <a:lnTo>
                    <a:pt x="61912" y="61912"/>
                  </a:lnTo>
                  <a:lnTo>
                    <a:pt x="123825" y="0"/>
                  </a:lnTo>
                </a:path>
              </a:pathLst>
            </a:custGeom>
            <a:noFill/>
            <a:ln w="14287">
              <a:solidFill>
                <a:srgbClr val="484848"/>
              </a:solidFill>
            </a:ln>
          </p:spPr>
          <p:txBody>
            <a:bodyPr rtlCol="0" anchor="ctr"/>
            <a:lstStyle/>
            <a:p>
              <a:pPr algn="ctr"/>
              <a:endParaRPr/>
            </a:p>
          </p:txBody>
        </p:sp>
      </p:grpSp>
      <p:sp>
        <p:nvSpPr>
          <p:cNvPr id="62" name="TextBox 61">
            <a:extLst>
              <a:ext uri="{FF2B5EF4-FFF2-40B4-BE49-F238E27FC236}">
                <a16:creationId xmlns:a16="http://schemas.microsoft.com/office/drawing/2014/main" id="{EB208E00-5D9A-D5F0-5453-88C3C3BF946C}"/>
              </a:ext>
            </a:extLst>
          </p:cNvPr>
          <p:cNvSpPr txBox="1"/>
          <p:nvPr/>
        </p:nvSpPr>
        <p:spPr>
          <a:xfrm>
            <a:off x="3223314" y="3049733"/>
            <a:ext cx="921727" cy="461665"/>
          </a:xfrm>
          <a:prstGeom prst="rect">
            <a:avLst/>
          </a:prstGeom>
          <a:noFill/>
          <a:ln>
            <a:noFill/>
          </a:ln>
        </p:spPr>
        <p:txBody>
          <a:bodyPr wrap="none" lIns="0" tIns="0" rIns="0" bIns="0" anchor="t">
            <a:spAutoFit/>
          </a:bodyPr>
          <a:lstStyle/>
          <a:p>
            <a:pPr algn="l"/>
            <a:r>
              <a:rPr sz="1500">
                <a:solidFill>
                  <a:srgbClr val="FFFFFF"/>
                </a:solidFill>
              </a:rPr>
              <a:t>Taxonomy
definition</a:t>
            </a:r>
          </a:p>
        </p:txBody>
      </p:sp>
      <p:sp>
        <p:nvSpPr>
          <p:cNvPr id="63" name="TextBox 62">
            <a:extLst>
              <a:ext uri="{FF2B5EF4-FFF2-40B4-BE49-F238E27FC236}">
                <a16:creationId xmlns:a16="http://schemas.microsoft.com/office/drawing/2014/main" id="{6BC96EF2-CABD-281C-FD96-999D99D6F0D0}"/>
              </a:ext>
            </a:extLst>
          </p:cNvPr>
          <p:cNvSpPr txBox="1"/>
          <p:nvPr/>
        </p:nvSpPr>
        <p:spPr>
          <a:xfrm>
            <a:off x="1546914" y="4354657"/>
            <a:ext cx="878446" cy="230832"/>
          </a:xfrm>
          <a:prstGeom prst="rect">
            <a:avLst/>
          </a:prstGeom>
          <a:noFill/>
          <a:ln>
            <a:noFill/>
          </a:ln>
        </p:spPr>
        <p:txBody>
          <a:bodyPr wrap="none" lIns="0" tIns="0" rIns="0" bIns="0" anchor="t">
            <a:spAutoFit/>
          </a:bodyPr>
          <a:lstStyle/>
          <a:p>
            <a:pPr algn="l"/>
            <a:r>
              <a:rPr sz="1500" dirty="0">
                <a:solidFill>
                  <a:srgbClr val="FFFFFF"/>
                </a:solidFill>
              </a:rPr>
              <a:t>Attributes</a:t>
            </a:r>
          </a:p>
        </p:txBody>
      </p:sp>
      <p:sp>
        <p:nvSpPr>
          <p:cNvPr id="64" name="TextBox 63">
            <a:extLst>
              <a:ext uri="{FF2B5EF4-FFF2-40B4-BE49-F238E27FC236}">
                <a16:creationId xmlns:a16="http://schemas.microsoft.com/office/drawing/2014/main" id="{580BC609-63E9-A107-A21E-606112A94AF6}"/>
              </a:ext>
            </a:extLst>
          </p:cNvPr>
          <p:cNvSpPr txBox="1"/>
          <p:nvPr/>
        </p:nvSpPr>
        <p:spPr>
          <a:xfrm>
            <a:off x="3280465" y="4354657"/>
            <a:ext cx="860813" cy="230832"/>
          </a:xfrm>
          <a:prstGeom prst="rect">
            <a:avLst/>
          </a:prstGeom>
          <a:noFill/>
          <a:ln>
            <a:noFill/>
          </a:ln>
        </p:spPr>
        <p:txBody>
          <a:bodyPr wrap="none" lIns="0" tIns="0" rIns="0" bIns="0" anchor="t">
            <a:spAutoFit/>
          </a:bodyPr>
          <a:lstStyle/>
          <a:p>
            <a:pPr algn="l"/>
            <a:r>
              <a:rPr sz="1500">
                <a:solidFill>
                  <a:srgbClr val="FFFFFF"/>
                </a:solidFill>
              </a:rPr>
              <a:t>Concepts</a:t>
            </a:r>
          </a:p>
        </p:txBody>
      </p:sp>
      <p:sp>
        <p:nvSpPr>
          <p:cNvPr id="65" name="TextBox 64">
            <a:extLst>
              <a:ext uri="{FF2B5EF4-FFF2-40B4-BE49-F238E27FC236}">
                <a16:creationId xmlns:a16="http://schemas.microsoft.com/office/drawing/2014/main" id="{A5325E8B-E4B7-CF51-2138-CB40567BCD38}"/>
              </a:ext>
            </a:extLst>
          </p:cNvPr>
          <p:cNvSpPr txBox="1"/>
          <p:nvPr/>
        </p:nvSpPr>
        <p:spPr>
          <a:xfrm>
            <a:off x="1546915" y="3049733"/>
            <a:ext cx="819135" cy="461665"/>
          </a:xfrm>
          <a:prstGeom prst="rect">
            <a:avLst/>
          </a:prstGeom>
          <a:noFill/>
          <a:ln>
            <a:noFill/>
          </a:ln>
        </p:spPr>
        <p:txBody>
          <a:bodyPr wrap="none" lIns="0" tIns="0" rIns="0" bIns="0" anchor="t">
            <a:spAutoFit/>
          </a:bodyPr>
          <a:lstStyle/>
          <a:p>
            <a:pPr algn="l"/>
            <a:r>
              <a:rPr sz="1500">
                <a:solidFill>
                  <a:srgbClr val="FFFFFF"/>
                </a:solidFill>
              </a:rPr>
              <a:t>Product
definition</a:t>
            </a:r>
          </a:p>
        </p:txBody>
      </p:sp>
      <p:sp>
        <p:nvSpPr>
          <p:cNvPr id="66" name="TextBox 65">
            <a:extLst>
              <a:ext uri="{FF2B5EF4-FFF2-40B4-BE49-F238E27FC236}">
                <a16:creationId xmlns:a16="http://schemas.microsoft.com/office/drawing/2014/main" id="{EDB760DF-BAD3-DA6C-F8F0-1C1625447FEE}"/>
              </a:ext>
            </a:extLst>
          </p:cNvPr>
          <p:cNvSpPr txBox="1"/>
          <p:nvPr/>
        </p:nvSpPr>
        <p:spPr>
          <a:xfrm>
            <a:off x="3509065" y="5402407"/>
            <a:ext cx="434414" cy="230832"/>
          </a:xfrm>
          <a:prstGeom prst="rect">
            <a:avLst/>
          </a:prstGeom>
          <a:noFill/>
          <a:ln>
            <a:noFill/>
          </a:ln>
        </p:spPr>
        <p:txBody>
          <a:bodyPr wrap="none" lIns="0" tIns="0" rIns="0" bIns="0" anchor="t">
            <a:spAutoFit/>
          </a:bodyPr>
          <a:lstStyle/>
          <a:p>
            <a:pPr algn="l"/>
            <a:r>
              <a:rPr sz="1500">
                <a:solidFill>
                  <a:srgbClr val="FFFFFF"/>
                </a:solidFill>
              </a:rPr>
              <a:t>Tags</a:t>
            </a:r>
          </a:p>
        </p:txBody>
      </p:sp>
      <p:sp>
        <p:nvSpPr>
          <p:cNvPr id="67" name="TextBox 66">
            <a:extLst>
              <a:ext uri="{FF2B5EF4-FFF2-40B4-BE49-F238E27FC236}">
                <a16:creationId xmlns:a16="http://schemas.microsoft.com/office/drawing/2014/main" id="{C8BBE701-006E-893A-B013-0EBF68969441}"/>
              </a:ext>
            </a:extLst>
          </p:cNvPr>
          <p:cNvSpPr txBox="1"/>
          <p:nvPr/>
        </p:nvSpPr>
        <p:spPr>
          <a:xfrm>
            <a:off x="2442265" y="1973407"/>
            <a:ext cx="703719" cy="230832"/>
          </a:xfrm>
          <a:prstGeom prst="rect">
            <a:avLst/>
          </a:prstGeom>
          <a:noFill/>
          <a:ln>
            <a:noFill/>
          </a:ln>
        </p:spPr>
        <p:txBody>
          <a:bodyPr wrap="none" lIns="0" tIns="0" rIns="0" bIns="0" anchor="t">
            <a:spAutoFit/>
          </a:bodyPr>
          <a:lstStyle/>
          <a:p>
            <a:pPr algn="l"/>
            <a:r>
              <a:rPr sz="1500">
                <a:solidFill>
                  <a:srgbClr val="FFFFFF"/>
                </a:solidFill>
              </a:rPr>
              <a:t>Product</a:t>
            </a:r>
          </a:p>
        </p:txBody>
      </p:sp>
      <p:sp>
        <p:nvSpPr>
          <p:cNvPr id="68" name="TextBox 67">
            <a:extLst>
              <a:ext uri="{FF2B5EF4-FFF2-40B4-BE49-F238E27FC236}">
                <a16:creationId xmlns:a16="http://schemas.microsoft.com/office/drawing/2014/main" id="{2D28AAA3-87CE-5EAE-7ADD-996947B0594F}"/>
              </a:ext>
            </a:extLst>
          </p:cNvPr>
          <p:cNvSpPr txBox="1"/>
          <p:nvPr/>
        </p:nvSpPr>
        <p:spPr>
          <a:xfrm>
            <a:off x="1661215" y="5402407"/>
            <a:ext cx="593111" cy="230832"/>
          </a:xfrm>
          <a:prstGeom prst="rect">
            <a:avLst/>
          </a:prstGeom>
          <a:noFill/>
          <a:ln>
            <a:noFill/>
          </a:ln>
        </p:spPr>
        <p:txBody>
          <a:bodyPr wrap="none" lIns="0" tIns="0" rIns="0" bIns="0" anchor="t">
            <a:spAutoFit/>
          </a:bodyPr>
          <a:lstStyle/>
          <a:p>
            <a:pPr algn="l"/>
            <a:r>
              <a:rPr sz="1500">
                <a:solidFill>
                  <a:srgbClr val="FFFFFF"/>
                </a:solidFill>
              </a:rPr>
              <a:t>Values</a:t>
            </a:r>
          </a:p>
        </p:txBody>
      </p:sp>
      <p:sp>
        <p:nvSpPr>
          <p:cNvPr id="69" name="Rounded Rectangle 41">
            <a:extLst>
              <a:ext uri="{FF2B5EF4-FFF2-40B4-BE49-F238E27FC236}">
                <a16:creationId xmlns:a16="http://schemas.microsoft.com/office/drawing/2014/main" id="{917DAAF1-6817-1912-299B-DEF0FEFE0A08}"/>
              </a:ext>
            </a:extLst>
          </p:cNvPr>
          <p:cNvSpPr/>
          <p:nvPr/>
        </p:nvSpPr>
        <p:spPr>
          <a:xfrm>
            <a:off x="1190918" y="4330821"/>
            <a:ext cx="273843" cy="250031"/>
          </a:xfrm>
          <a:custGeom>
            <a:avLst/>
            <a:gdLst/>
            <a:ahLst/>
            <a:cxnLst/>
            <a:rect l="0" t="0" r="0" b="0"/>
            <a:pathLst>
              <a:path w="273843" h="250031">
                <a:moveTo>
                  <a:pt x="107156" y="29765"/>
                </a:moveTo>
                <a:lnTo>
                  <a:pt x="273843" y="29765"/>
                </a:lnTo>
                <a:moveTo>
                  <a:pt x="107156" y="125015"/>
                </a:moveTo>
                <a:lnTo>
                  <a:pt x="273843" y="125015"/>
                </a:lnTo>
                <a:moveTo>
                  <a:pt x="107156" y="220265"/>
                </a:moveTo>
                <a:lnTo>
                  <a:pt x="273843" y="220265"/>
                </a:lnTo>
                <a:moveTo>
                  <a:pt x="59531" y="29765"/>
                </a:moveTo>
                <a:lnTo>
                  <a:pt x="0" y="29765"/>
                </a:lnTo>
                <a:moveTo>
                  <a:pt x="47625" y="0"/>
                </a:moveTo>
                <a:lnTo>
                  <a:pt x="11906" y="59531"/>
                </a:lnTo>
                <a:moveTo>
                  <a:pt x="11906" y="0"/>
                </a:moveTo>
                <a:lnTo>
                  <a:pt x="47625" y="59531"/>
                </a:lnTo>
                <a:moveTo>
                  <a:pt x="59531" y="125015"/>
                </a:moveTo>
                <a:lnTo>
                  <a:pt x="0" y="125015"/>
                </a:lnTo>
                <a:moveTo>
                  <a:pt x="47625" y="95249"/>
                </a:moveTo>
                <a:lnTo>
                  <a:pt x="11906" y="154781"/>
                </a:lnTo>
                <a:moveTo>
                  <a:pt x="11906" y="95249"/>
                </a:moveTo>
                <a:lnTo>
                  <a:pt x="47625" y="154781"/>
                </a:lnTo>
                <a:moveTo>
                  <a:pt x="59531" y="220265"/>
                </a:moveTo>
                <a:lnTo>
                  <a:pt x="0" y="220265"/>
                </a:lnTo>
                <a:moveTo>
                  <a:pt x="47625" y="190499"/>
                </a:moveTo>
                <a:lnTo>
                  <a:pt x="11906" y="250031"/>
                </a:lnTo>
                <a:moveTo>
                  <a:pt x="11906" y="190499"/>
                </a:moveTo>
                <a:lnTo>
                  <a:pt x="47625" y="250031"/>
                </a:lnTo>
              </a:path>
            </a:pathLst>
          </a:custGeom>
          <a:noFill/>
          <a:ln w="14287">
            <a:solidFill>
              <a:srgbClr val="FFFFFF"/>
            </a:solidFill>
          </a:ln>
        </p:spPr>
        <p:txBody>
          <a:bodyPr rtlCol="0" anchor="ctr"/>
          <a:lstStyle/>
          <a:p>
            <a:pPr algn="ctr"/>
            <a:endParaRPr/>
          </a:p>
        </p:txBody>
      </p:sp>
      <p:sp>
        <p:nvSpPr>
          <p:cNvPr id="70" name="Rounded Rectangle 42">
            <a:extLst>
              <a:ext uri="{FF2B5EF4-FFF2-40B4-BE49-F238E27FC236}">
                <a16:creationId xmlns:a16="http://schemas.microsoft.com/office/drawing/2014/main" id="{C54BC28A-0662-6713-E556-C66CFD38EF5F}"/>
              </a:ext>
            </a:extLst>
          </p:cNvPr>
          <p:cNvSpPr/>
          <p:nvPr/>
        </p:nvSpPr>
        <p:spPr>
          <a:xfrm>
            <a:off x="2912367" y="4318054"/>
            <a:ext cx="279971" cy="280612"/>
          </a:xfrm>
          <a:custGeom>
            <a:avLst/>
            <a:gdLst/>
            <a:ahLst/>
            <a:cxnLst/>
            <a:rect l="0" t="0" r="0" b="0"/>
            <a:pathLst>
              <a:path w="279971" h="280612">
                <a:moveTo>
                  <a:pt x="169497" y="56213"/>
                </a:moveTo>
                <a:cubicBezTo>
                  <a:pt x="197028" y="50678"/>
                  <a:pt x="219195" y="28243"/>
                  <a:pt x="224737" y="0"/>
                </a:cubicBezTo>
                <a:cubicBezTo>
                  <a:pt x="230281" y="28243"/>
                  <a:pt x="252441" y="50678"/>
                  <a:pt x="279971" y="56213"/>
                </a:cubicBezTo>
                <a:moveTo>
                  <a:pt x="279971" y="56245"/>
                </a:moveTo>
                <a:cubicBezTo>
                  <a:pt x="252441" y="61779"/>
                  <a:pt x="230275" y="84215"/>
                  <a:pt x="224732" y="112458"/>
                </a:cubicBezTo>
                <a:cubicBezTo>
                  <a:pt x="219189" y="84215"/>
                  <a:pt x="197028" y="61779"/>
                  <a:pt x="169497" y="56245"/>
                </a:cubicBezTo>
                <a:moveTo>
                  <a:pt x="75939" y="204806"/>
                </a:moveTo>
                <a:cubicBezTo>
                  <a:pt x="124392" y="253260"/>
                  <a:pt x="175795" y="280612"/>
                  <a:pt x="204312" y="252096"/>
                </a:cubicBezTo>
                <a:cubicBezTo>
                  <a:pt x="232760" y="223648"/>
                  <a:pt x="205623" y="172322"/>
                  <a:pt x="157023" y="123724"/>
                </a:cubicBezTo>
                <a:cubicBezTo>
                  <a:pt x="108423" y="75123"/>
                  <a:pt x="57019" y="47772"/>
                  <a:pt x="28504" y="76288"/>
                </a:cubicBezTo>
                <a:cubicBezTo>
                  <a:pt x="55" y="104736"/>
                  <a:pt x="27193" y="156061"/>
                  <a:pt x="75793" y="204660"/>
                </a:cubicBezTo>
                <a:lnTo>
                  <a:pt x="75939" y="204806"/>
                </a:lnTo>
                <a:close/>
                <a:moveTo>
                  <a:pt x="140934" y="74116"/>
                </a:moveTo>
                <a:cubicBezTo>
                  <a:pt x="120279" y="84180"/>
                  <a:pt x="97839" y="101714"/>
                  <a:pt x="75951" y="123602"/>
                </a:cubicBezTo>
                <a:lnTo>
                  <a:pt x="75804" y="123749"/>
                </a:lnTo>
                <a:cubicBezTo>
                  <a:pt x="27351" y="172202"/>
                  <a:pt x="0" y="223605"/>
                  <a:pt x="28515" y="252122"/>
                </a:cubicBezTo>
                <a:cubicBezTo>
                  <a:pt x="56964" y="280569"/>
                  <a:pt x="108288" y="253433"/>
                  <a:pt x="156888" y="204832"/>
                </a:cubicBezTo>
                <a:cubicBezTo>
                  <a:pt x="178816" y="182905"/>
                  <a:pt x="196418" y="160407"/>
                  <a:pt x="206515" y="139697"/>
                </a:cubicBezTo>
              </a:path>
            </a:pathLst>
          </a:custGeom>
          <a:noFill/>
          <a:ln w="14287">
            <a:solidFill>
              <a:srgbClr val="FFFFFF"/>
            </a:solidFill>
          </a:ln>
        </p:spPr>
        <p:txBody>
          <a:bodyPr rtlCol="0" anchor="ctr"/>
          <a:lstStyle/>
          <a:p>
            <a:pPr algn="ctr"/>
            <a:endParaRPr/>
          </a:p>
        </p:txBody>
      </p:sp>
      <p:sp>
        <p:nvSpPr>
          <p:cNvPr id="71" name="Rounded Rectangle 43">
            <a:extLst>
              <a:ext uri="{FF2B5EF4-FFF2-40B4-BE49-F238E27FC236}">
                <a16:creationId xmlns:a16="http://schemas.microsoft.com/office/drawing/2014/main" id="{781B62B3-F971-0930-64C8-AC2D185F0B2B}"/>
              </a:ext>
            </a:extLst>
          </p:cNvPr>
          <p:cNvSpPr/>
          <p:nvPr/>
        </p:nvSpPr>
        <p:spPr>
          <a:xfrm>
            <a:off x="2861365" y="3116407"/>
            <a:ext cx="255389" cy="276226"/>
          </a:xfrm>
          <a:custGeom>
            <a:avLst/>
            <a:gdLst/>
            <a:ahLst/>
            <a:cxnLst/>
            <a:rect l="0" t="0" r="0" b="0"/>
            <a:pathLst>
              <a:path w="255389" h="276226">
                <a:moveTo>
                  <a:pt x="192287" y="76200"/>
                </a:moveTo>
                <a:lnTo>
                  <a:pt x="94655" y="76200"/>
                </a:lnTo>
                <a:cubicBezTo>
                  <a:pt x="75605" y="76200"/>
                  <a:pt x="61318" y="60721"/>
                  <a:pt x="61318" y="42862"/>
                </a:cubicBezTo>
                <a:cubicBezTo>
                  <a:pt x="61318" y="23812"/>
                  <a:pt x="76796" y="9525"/>
                  <a:pt x="94655" y="9525"/>
                </a:cubicBezTo>
                <a:lnTo>
                  <a:pt x="192287" y="9525"/>
                </a:lnTo>
                <a:cubicBezTo>
                  <a:pt x="211337" y="9525"/>
                  <a:pt x="225624" y="25002"/>
                  <a:pt x="225624" y="42862"/>
                </a:cubicBezTo>
                <a:cubicBezTo>
                  <a:pt x="225624" y="60721"/>
                  <a:pt x="210146" y="76200"/>
                  <a:pt x="192287" y="76200"/>
                </a:cubicBezTo>
                <a:close/>
                <a:moveTo>
                  <a:pt x="249435" y="189309"/>
                </a:moveTo>
                <a:lnTo>
                  <a:pt x="36313" y="189309"/>
                </a:lnTo>
                <a:cubicBezTo>
                  <a:pt x="32742" y="189309"/>
                  <a:pt x="30360" y="186928"/>
                  <a:pt x="30360" y="183356"/>
                </a:cubicBezTo>
                <a:lnTo>
                  <a:pt x="30360" y="127396"/>
                </a:lnTo>
                <a:cubicBezTo>
                  <a:pt x="30360" y="123825"/>
                  <a:pt x="32742" y="121443"/>
                  <a:pt x="36313" y="121443"/>
                </a:cubicBezTo>
                <a:lnTo>
                  <a:pt x="249435" y="121443"/>
                </a:lnTo>
                <a:cubicBezTo>
                  <a:pt x="253007" y="121443"/>
                  <a:pt x="255389" y="123825"/>
                  <a:pt x="255389" y="127396"/>
                </a:cubicBezTo>
                <a:lnTo>
                  <a:pt x="255389" y="183356"/>
                </a:lnTo>
                <a:cubicBezTo>
                  <a:pt x="255389" y="186928"/>
                  <a:pt x="253007" y="189309"/>
                  <a:pt x="249435" y="189309"/>
                </a:cubicBezTo>
                <a:close/>
                <a:moveTo>
                  <a:pt x="143470" y="76201"/>
                </a:moveTo>
                <a:lnTo>
                  <a:pt x="143470" y="121444"/>
                </a:lnTo>
                <a:moveTo>
                  <a:pt x="143470" y="189310"/>
                </a:moveTo>
                <a:lnTo>
                  <a:pt x="143470" y="276226"/>
                </a:lnTo>
                <a:moveTo>
                  <a:pt x="0" y="0"/>
                </a:moveTo>
                <a:moveTo>
                  <a:pt x="180379" y="238125"/>
                </a:moveTo>
                <a:lnTo>
                  <a:pt x="143470" y="276225"/>
                </a:lnTo>
                <a:lnTo>
                  <a:pt x="105370" y="238125"/>
                </a:lnTo>
              </a:path>
            </a:pathLst>
          </a:custGeom>
          <a:noFill/>
          <a:ln w="14287">
            <a:solidFill>
              <a:srgbClr val="FFFFFF"/>
            </a:solidFill>
          </a:ln>
        </p:spPr>
        <p:txBody>
          <a:bodyPr rtlCol="0" anchor="ctr"/>
          <a:lstStyle/>
          <a:p>
            <a:pPr algn="ctr"/>
            <a:endParaRPr/>
          </a:p>
        </p:txBody>
      </p:sp>
      <p:sp>
        <p:nvSpPr>
          <p:cNvPr id="72" name="Rounded Rectangle 44">
            <a:extLst>
              <a:ext uri="{FF2B5EF4-FFF2-40B4-BE49-F238E27FC236}">
                <a16:creationId xmlns:a16="http://schemas.microsoft.com/office/drawing/2014/main" id="{45A403CC-924A-9E23-DECD-2FE1A76B1EF1}"/>
              </a:ext>
            </a:extLst>
          </p:cNvPr>
          <p:cNvSpPr/>
          <p:nvPr/>
        </p:nvSpPr>
        <p:spPr>
          <a:xfrm>
            <a:off x="1202824" y="3131289"/>
            <a:ext cx="250031" cy="255984"/>
          </a:xfrm>
          <a:custGeom>
            <a:avLst/>
            <a:gdLst/>
            <a:ahLst/>
            <a:cxnLst/>
            <a:rect l="0" t="0" r="0" b="0"/>
            <a:pathLst>
              <a:path w="250031" h="255984">
                <a:moveTo>
                  <a:pt x="250031" y="0"/>
                </a:moveTo>
                <a:lnTo>
                  <a:pt x="109537" y="174188"/>
                </a:lnTo>
                <a:cubicBezTo>
                  <a:pt x="107489" y="176903"/>
                  <a:pt x="104378" y="178613"/>
                  <a:pt x="100988" y="178886"/>
                </a:cubicBezTo>
                <a:cubicBezTo>
                  <a:pt x="97598" y="179159"/>
                  <a:pt x="94253" y="177969"/>
                  <a:pt x="91797" y="175617"/>
                </a:cubicBezTo>
                <a:lnTo>
                  <a:pt x="41671" y="125015"/>
                </a:lnTo>
                <a:moveTo>
                  <a:pt x="214312" y="119062"/>
                </a:moveTo>
                <a:lnTo>
                  <a:pt x="214312" y="244078"/>
                </a:lnTo>
                <a:cubicBezTo>
                  <a:pt x="214312" y="250653"/>
                  <a:pt x="208981" y="255984"/>
                  <a:pt x="202406" y="255984"/>
                </a:cubicBezTo>
                <a:lnTo>
                  <a:pt x="11906" y="255984"/>
                </a:lnTo>
                <a:cubicBezTo>
                  <a:pt x="5330" y="255984"/>
                  <a:pt x="0" y="250653"/>
                  <a:pt x="0" y="244078"/>
                </a:cubicBezTo>
                <a:lnTo>
                  <a:pt x="0" y="53578"/>
                </a:lnTo>
                <a:cubicBezTo>
                  <a:pt x="0" y="47002"/>
                  <a:pt x="5330" y="41671"/>
                  <a:pt x="11906" y="41671"/>
                </a:cubicBezTo>
                <a:lnTo>
                  <a:pt x="148828" y="41671"/>
                </a:lnTo>
              </a:path>
            </a:pathLst>
          </a:custGeom>
          <a:noFill/>
          <a:ln w="14287">
            <a:solidFill>
              <a:srgbClr val="FFFFFF"/>
            </a:solidFill>
          </a:ln>
        </p:spPr>
        <p:txBody>
          <a:bodyPr rtlCol="0" anchor="ctr"/>
          <a:lstStyle/>
          <a:p>
            <a:pPr algn="ctr"/>
            <a:endParaRPr/>
          </a:p>
        </p:txBody>
      </p:sp>
      <p:sp>
        <p:nvSpPr>
          <p:cNvPr id="73" name="Rounded Rectangle 45">
            <a:extLst>
              <a:ext uri="{FF2B5EF4-FFF2-40B4-BE49-F238E27FC236}">
                <a16:creationId xmlns:a16="http://schemas.microsoft.com/office/drawing/2014/main" id="{2B2BF60A-94E6-A853-D4EB-E591AC1C5495}"/>
              </a:ext>
            </a:extLst>
          </p:cNvPr>
          <p:cNvSpPr/>
          <p:nvPr/>
        </p:nvSpPr>
        <p:spPr>
          <a:xfrm>
            <a:off x="1305218" y="5378595"/>
            <a:ext cx="273843" cy="238125"/>
          </a:xfrm>
          <a:custGeom>
            <a:avLst/>
            <a:gdLst/>
            <a:ahLst/>
            <a:cxnLst/>
            <a:rect l="0" t="0" r="0" b="0"/>
            <a:pathLst>
              <a:path w="273843" h="238125">
                <a:moveTo>
                  <a:pt x="133826" y="35718"/>
                </a:moveTo>
                <a:cubicBezTo>
                  <a:pt x="129300" y="35750"/>
                  <a:pt x="125147" y="33212"/>
                  <a:pt x="123110" y="29170"/>
                </a:cubicBezTo>
                <a:lnTo>
                  <a:pt x="111799" y="6548"/>
                </a:lnTo>
                <a:cubicBezTo>
                  <a:pt x="109782" y="2544"/>
                  <a:pt x="105686" y="13"/>
                  <a:pt x="101203" y="0"/>
                </a:cubicBezTo>
                <a:lnTo>
                  <a:pt x="11906" y="0"/>
                </a:lnTo>
                <a:cubicBezTo>
                  <a:pt x="5330" y="0"/>
                  <a:pt x="0" y="5330"/>
                  <a:pt x="0" y="11906"/>
                </a:cubicBezTo>
                <a:lnTo>
                  <a:pt x="0" y="226218"/>
                </a:lnTo>
                <a:cubicBezTo>
                  <a:pt x="0" y="232794"/>
                  <a:pt x="5330" y="238125"/>
                  <a:pt x="11906" y="238125"/>
                </a:cubicBezTo>
                <a:lnTo>
                  <a:pt x="261937" y="238125"/>
                </a:lnTo>
                <a:cubicBezTo>
                  <a:pt x="268513" y="238125"/>
                  <a:pt x="273843" y="232794"/>
                  <a:pt x="273843" y="226218"/>
                </a:cubicBezTo>
                <a:lnTo>
                  <a:pt x="273843" y="47625"/>
                </a:lnTo>
                <a:cubicBezTo>
                  <a:pt x="273843" y="41049"/>
                  <a:pt x="268513" y="35718"/>
                  <a:pt x="261937" y="35718"/>
                </a:cubicBezTo>
                <a:close/>
                <a:moveTo>
                  <a:pt x="166687" y="95250"/>
                </a:moveTo>
                <a:lnTo>
                  <a:pt x="134897" y="95250"/>
                </a:lnTo>
                <a:cubicBezTo>
                  <a:pt x="126179" y="95314"/>
                  <a:pt x="119127" y="102366"/>
                  <a:pt x="119062" y="111085"/>
                </a:cubicBezTo>
                <a:cubicBezTo>
                  <a:pt x="118985" y="116020"/>
                  <a:pt x="121180" y="120717"/>
                  <a:pt x="125015" y="123825"/>
                </a:cubicBezTo>
                <a:lnTo>
                  <a:pt x="160734" y="150018"/>
                </a:lnTo>
                <a:cubicBezTo>
                  <a:pt x="164703" y="153053"/>
                  <a:pt x="167035" y="157761"/>
                  <a:pt x="167044" y="162758"/>
                </a:cubicBezTo>
                <a:cubicBezTo>
                  <a:pt x="167013" y="167010"/>
                  <a:pt x="165285" y="171074"/>
                  <a:pt x="162245" y="174047"/>
                </a:cubicBezTo>
                <a:cubicBezTo>
                  <a:pt x="159205" y="177020"/>
                  <a:pt x="155104" y="178657"/>
                  <a:pt x="150852" y="178593"/>
                </a:cubicBezTo>
                <a:lnTo>
                  <a:pt x="119062" y="178593"/>
                </a:lnTo>
                <a:moveTo>
                  <a:pt x="142875" y="77390"/>
                </a:moveTo>
                <a:lnTo>
                  <a:pt x="142875" y="95250"/>
                </a:lnTo>
                <a:moveTo>
                  <a:pt x="142875" y="178593"/>
                </a:moveTo>
                <a:lnTo>
                  <a:pt x="142875" y="196453"/>
                </a:lnTo>
              </a:path>
            </a:pathLst>
          </a:custGeom>
          <a:noFill/>
          <a:ln w="14287">
            <a:solidFill>
              <a:srgbClr val="FFFFFF"/>
            </a:solidFill>
          </a:ln>
        </p:spPr>
        <p:txBody>
          <a:bodyPr rtlCol="0" anchor="ctr"/>
          <a:lstStyle/>
          <a:p>
            <a:pPr algn="ctr"/>
            <a:endParaRPr/>
          </a:p>
        </p:txBody>
      </p:sp>
      <p:sp>
        <p:nvSpPr>
          <p:cNvPr id="74" name="Rounded Rectangle 46">
            <a:extLst>
              <a:ext uri="{FF2B5EF4-FFF2-40B4-BE49-F238E27FC236}">
                <a16:creationId xmlns:a16="http://schemas.microsoft.com/office/drawing/2014/main" id="{03E64F92-F64E-AC2E-8A96-A3E17D7FD758}"/>
              </a:ext>
            </a:extLst>
          </p:cNvPr>
          <p:cNvSpPr/>
          <p:nvPr/>
        </p:nvSpPr>
        <p:spPr>
          <a:xfrm>
            <a:off x="3157336" y="5360712"/>
            <a:ext cx="264120" cy="273843"/>
          </a:xfrm>
          <a:custGeom>
            <a:avLst/>
            <a:gdLst/>
            <a:ahLst/>
            <a:cxnLst/>
            <a:rect l="0" t="0" r="0" b="0"/>
            <a:pathLst>
              <a:path w="264120" h="273843">
                <a:moveTo>
                  <a:pt x="186730" y="101810"/>
                </a:moveTo>
                <a:lnTo>
                  <a:pt x="208161" y="79938"/>
                </a:lnTo>
                <a:cubicBezTo>
                  <a:pt x="213153" y="74265"/>
                  <a:pt x="216089" y="67076"/>
                  <a:pt x="216495" y="59531"/>
                </a:cubicBezTo>
                <a:lnTo>
                  <a:pt x="216495" y="11906"/>
                </a:lnTo>
                <a:cubicBezTo>
                  <a:pt x="216495" y="5330"/>
                  <a:pt x="211165" y="0"/>
                  <a:pt x="204589" y="0"/>
                </a:cubicBezTo>
                <a:lnTo>
                  <a:pt x="153892" y="83"/>
                </a:lnTo>
                <a:cubicBezTo>
                  <a:pt x="146357" y="501"/>
                  <a:pt x="139188" y="3475"/>
                  <a:pt x="133568" y="8512"/>
                </a:cubicBezTo>
                <a:lnTo>
                  <a:pt x="4647" y="137433"/>
                </a:lnTo>
                <a:cubicBezTo>
                  <a:pt x="0" y="142083"/>
                  <a:pt x="0" y="149619"/>
                  <a:pt x="4647" y="154269"/>
                </a:cubicBezTo>
                <a:lnTo>
                  <a:pt x="62226" y="211847"/>
                </a:lnTo>
                <a:cubicBezTo>
                  <a:pt x="64451" y="214072"/>
                  <a:pt x="67473" y="215315"/>
                  <a:pt x="70620" y="215300"/>
                </a:cubicBezTo>
                <a:cubicBezTo>
                  <a:pt x="73766" y="215284"/>
                  <a:pt x="76776" y="214011"/>
                  <a:pt x="78978" y="211764"/>
                </a:cubicBezTo>
                <a:lnTo>
                  <a:pt x="91480" y="199001"/>
                </a:lnTo>
                <a:moveTo>
                  <a:pt x="156964" y="41671"/>
                </a:moveTo>
                <a:lnTo>
                  <a:pt x="156964" y="41671"/>
                </a:lnTo>
                <a:cubicBezTo>
                  <a:pt x="156964" y="31808"/>
                  <a:pt x="164960" y="23812"/>
                  <a:pt x="174824" y="23812"/>
                </a:cubicBezTo>
                <a:cubicBezTo>
                  <a:pt x="184687" y="23812"/>
                  <a:pt x="192683" y="31808"/>
                  <a:pt x="192683" y="41671"/>
                </a:cubicBezTo>
                <a:cubicBezTo>
                  <a:pt x="192683" y="51535"/>
                  <a:pt x="184687" y="59531"/>
                  <a:pt x="174824" y="59531"/>
                </a:cubicBezTo>
                <a:cubicBezTo>
                  <a:pt x="164960" y="59531"/>
                  <a:pt x="156964" y="51535"/>
                  <a:pt x="156964" y="41671"/>
                </a:cubicBezTo>
                <a:close/>
                <a:moveTo>
                  <a:pt x="121245" y="202406"/>
                </a:moveTo>
                <a:cubicBezTo>
                  <a:pt x="121245" y="241860"/>
                  <a:pt x="153229" y="273843"/>
                  <a:pt x="192683" y="273843"/>
                </a:cubicBezTo>
                <a:cubicBezTo>
                  <a:pt x="232137" y="273843"/>
                  <a:pt x="264120" y="241860"/>
                  <a:pt x="264120" y="202406"/>
                </a:cubicBezTo>
                <a:cubicBezTo>
                  <a:pt x="264120" y="162952"/>
                  <a:pt x="232137" y="130968"/>
                  <a:pt x="192683" y="130968"/>
                </a:cubicBezTo>
                <a:cubicBezTo>
                  <a:pt x="153229" y="130968"/>
                  <a:pt x="121245" y="162952"/>
                  <a:pt x="121245" y="202406"/>
                </a:cubicBezTo>
                <a:close/>
                <a:moveTo>
                  <a:pt x="243201" y="151888"/>
                </a:moveTo>
                <a:lnTo>
                  <a:pt x="142177" y="252912"/>
                </a:lnTo>
              </a:path>
            </a:pathLst>
          </a:custGeom>
          <a:noFill/>
          <a:ln w="14287">
            <a:solidFill>
              <a:srgbClr val="FFFFFF"/>
            </a:solidFill>
          </a:ln>
        </p:spPr>
        <p:txBody>
          <a:bodyPr rtlCol="0" anchor="ctr"/>
          <a:lstStyle/>
          <a:p>
            <a:pPr algn="ctr"/>
            <a:endParaRPr/>
          </a:p>
        </p:txBody>
      </p:sp>
      <p:sp>
        <p:nvSpPr>
          <p:cNvPr id="75" name="Rounded Rectangle 47">
            <a:extLst>
              <a:ext uri="{FF2B5EF4-FFF2-40B4-BE49-F238E27FC236}">
                <a16:creationId xmlns:a16="http://schemas.microsoft.com/office/drawing/2014/main" id="{BC3A4D72-15B3-3482-8E14-7CAF488A6548}"/>
              </a:ext>
            </a:extLst>
          </p:cNvPr>
          <p:cNvSpPr/>
          <p:nvPr/>
        </p:nvSpPr>
        <p:spPr>
          <a:xfrm>
            <a:off x="2086268" y="1979361"/>
            <a:ext cx="273843" cy="178593"/>
          </a:xfrm>
          <a:custGeom>
            <a:avLst/>
            <a:gdLst/>
            <a:ahLst/>
            <a:cxnLst/>
            <a:rect l="0" t="0" r="0" b="0"/>
            <a:pathLst>
              <a:path w="273843" h="178593">
                <a:moveTo>
                  <a:pt x="273843" y="23812"/>
                </a:moveTo>
                <a:cubicBezTo>
                  <a:pt x="273843" y="30388"/>
                  <a:pt x="268513" y="35718"/>
                  <a:pt x="261937" y="35718"/>
                </a:cubicBezTo>
                <a:lnTo>
                  <a:pt x="83343" y="35718"/>
                </a:lnTo>
                <a:cubicBezTo>
                  <a:pt x="76768" y="35718"/>
                  <a:pt x="71437" y="30388"/>
                  <a:pt x="71437" y="23812"/>
                </a:cubicBezTo>
                <a:lnTo>
                  <a:pt x="71437" y="11906"/>
                </a:lnTo>
                <a:cubicBezTo>
                  <a:pt x="71437" y="5330"/>
                  <a:pt x="76768" y="0"/>
                  <a:pt x="83343" y="0"/>
                </a:cubicBezTo>
                <a:lnTo>
                  <a:pt x="261937" y="0"/>
                </a:lnTo>
                <a:cubicBezTo>
                  <a:pt x="268513" y="0"/>
                  <a:pt x="273843" y="5330"/>
                  <a:pt x="273843" y="11906"/>
                </a:cubicBezTo>
                <a:close/>
                <a:moveTo>
                  <a:pt x="238125" y="95250"/>
                </a:moveTo>
                <a:cubicBezTo>
                  <a:pt x="238125" y="101825"/>
                  <a:pt x="232794" y="107156"/>
                  <a:pt x="226218" y="107156"/>
                </a:cubicBezTo>
                <a:lnTo>
                  <a:pt x="47625" y="107156"/>
                </a:lnTo>
                <a:cubicBezTo>
                  <a:pt x="41049" y="107156"/>
                  <a:pt x="35718" y="101825"/>
                  <a:pt x="35718" y="95250"/>
                </a:cubicBezTo>
                <a:lnTo>
                  <a:pt x="35718" y="83343"/>
                </a:lnTo>
                <a:cubicBezTo>
                  <a:pt x="35718" y="76768"/>
                  <a:pt x="41049" y="71437"/>
                  <a:pt x="47625" y="71437"/>
                </a:cubicBezTo>
                <a:lnTo>
                  <a:pt x="226218" y="71437"/>
                </a:lnTo>
                <a:cubicBezTo>
                  <a:pt x="232794" y="71437"/>
                  <a:pt x="238125" y="76768"/>
                  <a:pt x="238125" y="83343"/>
                </a:cubicBezTo>
                <a:close/>
                <a:moveTo>
                  <a:pt x="202406" y="166687"/>
                </a:moveTo>
                <a:cubicBezTo>
                  <a:pt x="202406" y="173263"/>
                  <a:pt x="197075" y="178593"/>
                  <a:pt x="190500" y="178593"/>
                </a:cubicBezTo>
                <a:lnTo>
                  <a:pt x="11906" y="178593"/>
                </a:lnTo>
                <a:cubicBezTo>
                  <a:pt x="5330" y="178593"/>
                  <a:pt x="0" y="173263"/>
                  <a:pt x="0" y="166687"/>
                </a:cubicBezTo>
                <a:lnTo>
                  <a:pt x="0" y="154781"/>
                </a:lnTo>
                <a:cubicBezTo>
                  <a:pt x="0" y="148205"/>
                  <a:pt x="5330" y="142875"/>
                  <a:pt x="11906" y="142875"/>
                </a:cubicBezTo>
                <a:lnTo>
                  <a:pt x="190500" y="142875"/>
                </a:lnTo>
                <a:cubicBezTo>
                  <a:pt x="197075" y="142875"/>
                  <a:pt x="202406" y="148205"/>
                  <a:pt x="202406" y="154781"/>
                </a:cubicBezTo>
                <a:close/>
              </a:path>
            </a:pathLst>
          </a:custGeom>
          <a:noFill/>
          <a:ln w="14287">
            <a:solidFill>
              <a:srgbClr val="FFFFFF"/>
            </a:solidFill>
          </a:ln>
        </p:spPr>
        <p:txBody>
          <a:bodyPr rtlCol="0" anchor="ctr"/>
          <a:lstStyle/>
          <a:p>
            <a:pPr algn="ctr"/>
            <a:endParaRPr/>
          </a:p>
        </p:txBody>
      </p:sp>
      <p:sp>
        <p:nvSpPr>
          <p:cNvPr id="77" name="Rounded Rectangle 2">
            <a:extLst>
              <a:ext uri="{FF2B5EF4-FFF2-40B4-BE49-F238E27FC236}">
                <a16:creationId xmlns:a16="http://schemas.microsoft.com/office/drawing/2014/main" id="{A2A6C21E-A60C-291C-453A-926876C1CC13}"/>
              </a:ext>
            </a:extLst>
          </p:cNvPr>
          <p:cNvSpPr/>
          <p:nvPr/>
        </p:nvSpPr>
        <p:spPr>
          <a:xfrm>
            <a:off x="5997808" y="2239241"/>
            <a:ext cx="1485900" cy="800100"/>
          </a:xfrm>
          <a:custGeom>
            <a:avLst/>
            <a:gdLst/>
            <a:ahLst/>
            <a:cxnLst/>
            <a:rect l="0" t="0" r="0" b="0"/>
            <a:pathLst>
              <a:path w="1485900" h="800100">
                <a:moveTo>
                  <a:pt x="0" y="114300"/>
                </a:moveTo>
                <a:lnTo>
                  <a:pt x="0" y="57150"/>
                </a:lnTo>
                <a:cubicBezTo>
                  <a:pt x="0" y="25587"/>
                  <a:pt x="25587" y="0"/>
                  <a:pt x="57150" y="0"/>
                </a:cubicBezTo>
                <a:lnTo>
                  <a:pt x="114300" y="0"/>
                </a:lnTo>
                <a:moveTo>
                  <a:pt x="1485900" y="114300"/>
                </a:moveTo>
                <a:lnTo>
                  <a:pt x="1485900" y="685800"/>
                </a:lnTo>
                <a:moveTo>
                  <a:pt x="0" y="685800"/>
                </a:moveTo>
                <a:lnTo>
                  <a:pt x="0" y="114300"/>
                </a:lnTo>
                <a:moveTo>
                  <a:pt x="114300" y="0"/>
                </a:moveTo>
                <a:lnTo>
                  <a:pt x="1371600" y="0"/>
                </a:lnTo>
                <a:moveTo>
                  <a:pt x="0" y="685800"/>
                </a:moveTo>
                <a:lnTo>
                  <a:pt x="0" y="742950"/>
                </a:lnTo>
                <a:cubicBezTo>
                  <a:pt x="0" y="774512"/>
                  <a:pt x="25587" y="800100"/>
                  <a:pt x="57150" y="800100"/>
                </a:cubicBezTo>
                <a:lnTo>
                  <a:pt x="114300" y="800100"/>
                </a:lnTo>
                <a:moveTo>
                  <a:pt x="1485900" y="114300"/>
                </a:moveTo>
                <a:lnTo>
                  <a:pt x="1485900" y="57150"/>
                </a:lnTo>
                <a:cubicBezTo>
                  <a:pt x="1485900" y="25587"/>
                  <a:pt x="1460312" y="0"/>
                  <a:pt x="1428750" y="0"/>
                </a:cubicBezTo>
                <a:lnTo>
                  <a:pt x="1371600" y="0"/>
                </a:lnTo>
                <a:moveTo>
                  <a:pt x="1371600" y="800100"/>
                </a:moveTo>
                <a:lnTo>
                  <a:pt x="114300" y="800100"/>
                </a:lnTo>
                <a:moveTo>
                  <a:pt x="1485900" y="685800"/>
                </a:moveTo>
                <a:lnTo>
                  <a:pt x="1485900" y="742950"/>
                </a:lnTo>
                <a:cubicBezTo>
                  <a:pt x="1485900" y="774512"/>
                  <a:pt x="1460312" y="800100"/>
                  <a:pt x="1428750" y="800100"/>
                </a:cubicBezTo>
                <a:lnTo>
                  <a:pt x="1371600" y="800100"/>
                </a:lnTo>
              </a:path>
            </a:pathLst>
          </a:custGeom>
          <a:noFill/>
          <a:ln w="7143">
            <a:solidFill>
              <a:srgbClr val="FFFFFF"/>
            </a:solidFill>
          </a:ln>
        </p:spPr>
        <p:txBody>
          <a:bodyPr rtlCol="0" anchor="ctr"/>
          <a:lstStyle/>
          <a:p>
            <a:pPr algn="ctr"/>
            <a:endParaRPr/>
          </a:p>
        </p:txBody>
      </p:sp>
      <p:sp>
        <p:nvSpPr>
          <p:cNvPr id="78" name="Rounded Rectangle 3">
            <a:extLst>
              <a:ext uri="{FF2B5EF4-FFF2-40B4-BE49-F238E27FC236}">
                <a16:creationId xmlns:a16="http://schemas.microsoft.com/office/drawing/2014/main" id="{810AE432-889B-864E-957B-A2CE39519D36}"/>
              </a:ext>
            </a:extLst>
          </p:cNvPr>
          <p:cNvSpPr/>
          <p:nvPr/>
        </p:nvSpPr>
        <p:spPr>
          <a:xfrm>
            <a:off x="5997808" y="3153641"/>
            <a:ext cx="1485900" cy="571500"/>
          </a:xfrm>
          <a:custGeom>
            <a:avLst/>
            <a:gdLst/>
            <a:ahLst/>
            <a:cxnLst/>
            <a:rect l="0" t="0" r="0" b="0"/>
            <a:pathLst>
              <a:path w="1485900" h="571500">
                <a:moveTo>
                  <a:pt x="1485900" y="514350"/>
                </a:moveTo>
                <a:cubicBezTo>
                  <a:pt x="1485900" y="545915"/>
                  <a:pt x="1460315" y="571500"/>
                  <a:pt x="1428750" y="571500"/>
                </a:cubicBezTo>
                <a:lnTo>
                  <a:pt x="1371600" y="571500"/>
                </a:lnTo>
                <a:lnTo>
                  <a:pt x="57150" y="571500"/>
                </a:lnTo>
                <a:cubicBezTo>
                  <a:pt x="25584" y="571500"/>
                  <a:pt x="0" y="545915"/>
                  <a:pt x="0" y="514350"/>
                </a:cubicBezTo>
                <a:lnTo>
                  <a:pt x="0" y="57150"/>
                </a:lnTo>
                <a:cubicBezTo>
                  <a:pt x="0" y="25584"/>
                  <a:pt x="25584" y="0"/>
                  <a:pt x="57150" y="0"/>
                </a:cubicBezTo>
                <a:lnTo>
                  <a:pt x="1428750" y="0"/>
                </a:lnTo>
                <a:cubicBezTo>
                  <a:pt x="1460315" y="0"/>
                  <a:pt x="1485900" y="25584"/>
                  <a:pt x="1485900" y="57150"/>
                </a:cubicBezTo>
                <a:lnTo>
                  <a:pt x="1485900" y="514350"/>
                </a:lnTo>
              </a:path>
            </a:pathLst>
          </a:custGeom>
          <a:solidFill>
            <a:schemeClr val="accent1"/>
          </a:solidFill>
          <a:ln>
            <a:noFill/>
          </a:ln>
        </p:spPr>
        <p:txBody>
          <a:bodyPr rtlCol="0" anchor="ctr"/>
          <a:lstStyle/>
          <a:p>
            <a:pPr algn="ctr"/>
            <a:endParaRPr/>
          </a:p>
        </p:txBody>
      </p:sp>
      <p:sp>
        <p:nvSpPr>
          <p:cNvPr id="79" name="Rounded Rectangle 4">
            <a:extLst>
              <a:ext uri="{FF2B5EF4-FFF2-40B4-BE49-F238E27FC236}">
                <a16:creationId xmlns:a16="http://schemas.microsoft.com/office/drawing/2014/main" id="{EAEB535B-59DD-EAF0-0914-42FF19D6D78D}"/>
              </a:ext>
            </a:extLst>
          </p:cNvPr>
          <p:cNvSpPr/>
          <p:nvPr/>
        </p:nvSpPr>
        <p:spPr>
          <a:xfrm>
            <a:off x="5997808" y="3153641"/>
            <a:ext cx="1485900" cy="571500"/>
          </a:xfrm>
          <a:custGeom>
            <a:avLst/>
            <a:gdLst/>
            <a:ahLst/>
            <a:cxnLst/>
            <a:rect l="0" t="0" r="0" b="0"/>
            <a:pathLst>
              <a:path w="1485900" h="571500">
                <a:moveTo>
                  <a:pt x="0" y="114300"/>
                </a:moveTo>
                <a:lnTo>
                  <a:pt x="0" y="57150"/>
                </a:lnTo>
                <a:cubicBezTo>
                  <a:pt x="0" y="25587"/>
                  <a:pt x="25587" y="0"/>
                  <a:pt x="57150" y="0"/>
                </a:cubicBezTo>
                <a:lnTo>
                  <a:pt x="114300" y="0"/>
                </a:lnTo>
                <a:moveTo>
                  <a:pt x="1485900" y="114300"/>
                </a:moveTo>
                <a:lnTo>
                  <a:pt x="1485900" y="457200"/>
                </a:lnTo>
                <a:moveTo>
                  <a:pt x="0" y="457200"/>
                </a:moveTo>
                <a:lnTo>
                  <a:pt x="0" y="114300"/>
                </a:lnTo>
                <a:moveTo>
                  <a:pt x="114300" y="0"/>
                </a:moveTo>
                <a:lnTo>
                  <a:pt x="1371600" y="0"/>
                </a:lnTo>
                <a:moveTo>
                  <a:pt x="0" y="457200"/>
                </a:moveTo>
                <a:lnTo>
                  <a:pt x="0" y="514350"/>
                </a:lnTo>
                <a:cubicBezTo>
                  <a:pt x="0" y="545912"/>
                  <a:pt x="25587" y="571500"/>
                  <a:pt x="57150" y="571500"/>
                </a:cubicBezTo>
                <a:lnTo>
                  <a:pt x="114300" y="571500"/>
                </a:lnTo>
                <a:moveTo>
                  <a:pt x="1485900" y="114300"/>
                </a:moveTo>
                <a:lnTo>
                  <a:pt x="1485900" y="57150"/>
                </a:lnTo>
                <a:cubicBezTo>
                  <a:pt x="1485900" y="25587"/>
                  <a:pt x="1460312" y="0"/>
                  <a:pt x="1428750" y="0"/>
                </a:cubicBezTo>
                <a:lnTo>
                  <a:pt x="1371600" y="0"/>
                </a:lnTo>
                <a:moveTo>
                  <a:pt x="1371600" y="571500"/>
                </a:moveTo>
                <a:lnTo>
                  <a:pt x="114300" y="571500"/>
                </a:lnTo>
                <a:moveTo>
                  <a:pt x="1485900" y="457200"/>
                </a:moveTo>
                <a:lnTo>
                  <a:pt x="1485900" y="514350"/>
                </a:lnTo>
                <a:cubicBezTo>
                  <a:pt x="1485900" y="545912"/>
                  <a:pt x="1460312" y="571500"/>
                  <a:pt x="1428750" y="571500"/>
                </a:cubicBezTo>
                <a:lnTo>
                  <a:pt x="1371600" y="571500"/>
                </a:lnTo>
              </a:path>
            </a:pathLst>
          </a:custGeom>
          <a:noFill/>
          <a:ln w="7143">
            <a:solidFill>
              <a:srgbClr val="FFFFFF"/>
            </a:solidFill>
          </a:ln>
        </p:spPr>
        <p:txBody>
          <a:bodyPr rtlCol="0" anchor="ctr"/>
          <a:lstStyle/>
          <a:p>
            <a:pPr algn="ctr"/>
            <a:endParaRPr/>
          </a:p>
        </p:txBody>
      </p:sp>
      <p:sp>
        <p:nvSpPr>
          <p:cNvPr id="80" name="Rounded Rectangle 5">
            <a:extLst>
              <a:ext uri="{FF2B5EF4-FFF2-40B4-BE49-F238E27FC236}">
                <a16:creationId xmlns:a16="http://schemas.microsoft.com/office/drawing/2014/main" id="{F906981C-CA20-C892-CBBE-3A04C21FFC14}"/>
              </a:ext>
            </a:extLst>
          </p:cNvPr>
          <p:cNvSpPr/>
          <p:nvPr/>
        </p:nvSpPr>
        <p:spPr>
          <a:xfrm>
            <a:off x="5997808" y="3839441"/>
            <a:ext cx="1485900" cy="914400"/>
          </a:xfrm>
          <a:custGeom>
            <a:avLst/>
            <a:gdLst/>
            <a:ahLst/>
            <a:cxnLst/>
            <a:rect l="0" t="0" r="0" b="0"/>
            <a:pathLst>
              <a:path w="1485900" h="914400">
                <a:moveTo>
                  <a:pt x="1485900" y="857250"/>
                </a:moveTo>
                <a:cubicBezTo>
                  <a:pt x="1485900" y="888815"/>
                  <a:pt x="1460315" y="914400"/>
                  <a:pt x="1428750" y="914400"/>
                </a:cubicBezTo>
                <a:lnTo>
                  <a:pt x="1371600" y="914400"/>
                </a:lnTo>
                <a:lnTo>
                  <a:pt x="57150" y="914400"/>
                </a:lnTo>
                <a:cubicBezTo>
                  <a:pt x="25584" y="914400"/>
                  <a:pt x="0" y="888815"/>
                  <a:pt x="0" y="857250"/>
                </a:cubicBezTo>
                <a:lnTo>
                  <a:pt x="0" y="57150"/>
                </a:lnTo>
                <a:cubicBezTo>
                  <a:pt x="0" y="25584"/>
                  <a:pt x="25584" y="0"/>
                  <a:pt x="57150" y="0"/>
                </a:cubicBezTo>
                <a:lnTo>
                  <a:pt x="1428750" y="0"/>
                </a:lnTo>
                <a:cubicBezTo>
                  <a:pt x="1460315" y="0"/>
                  <a:pt x="1485900" y="25584"/>
                  <a:pt x="1485900" y="57150"/>
                </a:cubicBezTo>
                <a:lnTo>
                  <a:pt x="1485900" y="857250"/>
                </a:lnTo>
              </a:path>
            </a:pathLst>
          </a:custGeom>
          <a:solidFill>
            <a:schemeClr val="accent1"/>
          </a:solidFill>
          <a:ln>
            <a:noFill/>
          </a:ln>
        </p:spPr>
        <p:txBody>
          <a:bodyPr rtlCol="0" anchor="ctr"/>
          <a:lstStyle/>
          <a:p>
            <a:pPr algn="ctr"/>
            <a:endParaRPr/>
          </a:p>
        </p:txBody>
      </p:sp>
      <p:sp>
        <p:nvSpPr>
          <p:cNvPr id="81" name="Rounded Rectangle 6">
            <a:extLst>
              <a:ext uri="{FF2B5EF4-FFF2-40B4-BE49-F238E27FC236}">
                <a16:creationId xmlns:a16="http://schemas.microsoft.com/office/drawing/2014/main" id="{090C660B-8DE0-E17C-47EA-DC97B7B54737}"/>
              </a:ext>
            </a:extLst>
          </p:cNvPr>
          <p:cNvSpPr/>
          <p:nvPr/>
        </p:nvSpPr>
        <p:spPr>
          <a:xfrm>
            <a:off x="5997808" y="3839441"/>
            <a:ext cx="1485900" cy="914400"/>
          </a:xfrm>
          <a:custGeom>
            <a:avLst/>
            <a:gdLst/>
            <a:ahLst/>
            <a:cxnLst/>
            <a:rect l="0" t="0" r="0" b="0"/>
            <a:pathLst>
              <a:path w="1485900" h="914400">
                <a:moveTo>
                  <a:pt x="0" y="114300"/>
                </a:moveTo>
                <a:lnTo>
                  <a:pt x="0" y="57150"/>
                </a:lnTo>
                <a:cubicBezTo>
                  <a:pt x="0" y="25587"/>
                  <a:pt x="25587" y="0"/>
                  <a:pt x="57150" y="0"/>
                </a:cubicBezTo>
                <a:lnTo>
                  <a:pt x="114300" y="0"/>
                </a:lnTo>
                <a:moveTo>
                  <a:pt x="1485900" y="114300"/>
                </a:moveTo>
                <a:lnTo>
                  <a:pt x="1485900" y="800100"/>
                </a:lnTo>
                <a:moveTo>
                  <a:pt x="0" y="800100"/>
                </a:moveTo>
                <a:lnTo>
                  <a:pt x="0" y="114300"/>
                </a:lnTo>
                <a:moveTo>
                  <a:pt x="114300" y="0"/>
                </a:moveTo>
                <a:lnTo>
                  <a:pt x="1371600" y="0"/>
                </a:lnTo>
                <a:moveTo>
                  <a:pt x="0" y="800100"/>
                </a:moveTo>
                <a:lnTo>
                  <a:pt x="0" y="857250"/>
                </a:lnTo>
                <a:cubicBezTo>
                  <a:pt x="0" y="888812"/>
                  <a:pt x="25587" y="914400"/>
                  <a:pt x="57150" y="914400"/>
                </a:cubicBezTo>
                <a:lnTo>
                  <a:pt x="114300" y="914400"/>
                </a:lnTo>
                <a:moveTo>
                  <a:pt x="1485900" y="114300"/>
                </a:moveTo>
                <a:lnTo>
                  <a:pt x="1485900" y="57150"/>
                </a:lnTo>
                <a:cubicBezTo>
                  <a:pt x="1485900" y="25587"/>
                  <a:pt x="1460312" y="0"/>
                  <a:pt x="1428750" y="0"/>
                </a:cubicBezTo>
                <a:lnTo>
                  <a:pt x="1371600" y="0"/>
                </a:lnTo>
                <a:moveTo>
                  <a:pt x="1371600" y="914400"/>
                </a:moveTo>
                <a:lnTo>
                  <a:pt x="114300" y="914400"/>
                </a:lnTo>
                <a:moveTo>
                  <a:pt x="1485900" y="800100"/>
                </a:moveTo>
                <a:lnTo>
                  <a:pt x="1485900" y="857250"/>
                </a:lnTo>
                <a:cubicBezTo>
                  <a:pt x="1485900" y="888812"/>
                  <a:pt x="1460312" y="914400"/>
                  <a:pt x="1428750" y="914400"/>
                </a:cubicBezTo>
                <a:lnTo>
                  <a:pt x="1371600" y="914400"/>
                </a:lnTo>
              </a:path>
            </a:pathLst>
          </a:custGeom>
          <a:noFill/>
          <a:ln w="7143">
            <a:solidFill>
              <a:srgbClr val="FFFFFF"/>
            </a:solidFill>
          </a:ln>
        </p:spPr>
        <p:txBody>
          <a:bodyPr rtlCol="0" anchor="ctr"/>
          <a:lstStyle/>
          <a:p>
            <a:pPr algn="ctr"/>
            <a:endParaRPr/>
          </a:p>
        </p:txBody>
      </p:sp>
      <p:sp>
        <p:nvSpPr>
          <p:cNvPr id="82" name="Rounded Rectangle 7">
            <a:extLst>
              <a:ext uri="{FF2B5EF4-FFF2-40B4-BE49-F238E27FC236}">
                <a16:creationId xmlns:a16="http://schemas.microsoft.com/office/drawing/2014/main" id="{0DEE43B5-6FE8-FB12-F946-CDAF7876A8DF}"/>
              </a:ext>
            </a:extLst>
          </p:cNvPr>
          <p:cNvSpPr/>
          <p:nvPr/>
        </p:nvSpPr>
        <p:spPr>
          <a:xfrm>
            <a:off x="5997808" y="4868141"/>
            <a:ext cx="1485900" cy="571500"/>
          </a:xfrm>
          <a:custGeom>
            <a:avLst/>
            <a:gdLst/>
            <a:ahLst/>
            <a:cxnLst/>
            <a:rect l="0" t="0" r="0" b="0"/>
            <a:pathLst>
              <a:path w="1485900" h="571500">
                <a:moveTo>
                  <a:pt x="1485900" y="514350"/>
                </a:moveTo>
                <a:cubicBezTo>
                  <a:pt x="1485900" y="545915"/>
                  <a:pt x="1460315" y="571500"/>
                  <a:pt x="1428750" y="571500"/>
                </a:cubicBezTo>
                <a:lnTo>
                  <a:pt x="1371600" y="571500"/>
                </a:lnTo>
                <a:lnTo>
                  <a:pt x="57150" y="571500"/>
                </a:lnTo>
                <a:cubicBezTo>
                  <a:pt x="25584" y="571500"/>
                  <a:pt x="0" y="545915"/>
                  <a:pt x="0" y="514350"/>
                </a:cubicBezTo>
                <a:lnTo>
                  <a:pt x="0" y="57150"/>
                </a:lnTo>
                <a:cubicBezTo>
                  <a:pt x="0" y="25584"/>
                  <a:pt x="25584" y="0"/>
                  <a:pt x="57150" y="0"/>
                </a:cubicBezTo>
                <a:lnTo>
                  <a:pt x="1428750" y="0"/>
                </a:lnTo>
                <a:cubicBezTo>
                  <a:pt x="1460315" y="0"/>
                  <a:pt x="1485900" y="25584"/>
                  <a:pt x="1485900" y="57150"/>
                </a:cubicBezTo>
                <a:lnTo>
                  <a:pt x="1485900" y="514350"/>
                </a:lnTo>
              </a:path>
            </a:pathLst>
          </a:custGeom>
          <a:solidFill>
            <a:schemeClr val="accent1"/>
          </a:solidFill>
          <a:ln>
            <a:noFill/>
          </a:ln>
        </p:spPr>
        <p:txBody>
          <a:bodyPr rtlCol="0" anchor="ctr"/>
          <a:lstStyle/>
          <a:p>
            <a:pPr algn="ctr"/>
            <a:endParaRPr/>
          </a:p>
        </p:txBody>
      </p:sp>
      <p:sp>
        <p:nvSpPr>
          <p:cNvPr id="83" name="Rounded Rectangle 8">
            <a:extLst>
              <a:ext uri="{FF2B5EF4-FFF2-40B4-BE49-F238E27FC236}">
                <a16:creationId xmlns:a16="http://schemas.microsoft.com/office/drawing/2014/main" id="{0149D12E-E4EC-F605-6A77-4CBF258ECDBF}"/>
              </a:ext>
            </a:extLst>
          </p:cNvPr>
          <p:cNvSpPr/>
          <p:nvPr/>
        </p:nvSpPr>
        <p:spPr>
          <a:xfrm>
            <a:off x="5997808" y="4868141"/>
            <a:ext cx="1485900" cy="571500"/>
          </a:xfrm>
          <a:custGeom>
            <a:avLst/>
            <a:gdLst/>
            <a:ahLst/>
            <a:cxnLst/>
            <a:rect l="0" t="0" r="0" b="0"/>
            <a:pathLst>
              <a:path w="1485900" h="571500">
                <a:moveTo>
                  <a:pt x="0" y="114300"/>
                </a:moveTo>
                <a:lnTo>
                  <a:pt x="0" y="57150"/>
                </a:lnTo>
                <a:cubicBezTo>
                  <a:pt x="0" y="25587"/>
                  <a:pt x="25587" y="0"/>
                  <a:pt x="57150" y="0"/>
                </a:cubicBezTo>
                <a:lnTo>
                  <a:pt x="114300" y="0"/>
                </a:lnTo>
                <a:moveTo>
                  <a:pt x="1485900" y="114300"/>
                </a:moveTo>
                <a:lnTo>
                  <a:pt x="1485900" y="457200"/>
                </a:lnTo>
                <a:moveTo>
                  <a:pt x="0" y="457200"/>
                </a:moveTo>
                <a:lnTo>
                  <a:pt x="0" y="114300"/>
                </a:lnTo>
                <a:moveTo>
                  <a:pt x="114300" y="0"/>
                </a:moveTo>
                <a:lnTo>
                  <a:pt x="1371600" y="0"/>
                </a:lnTo>
                <a:moveTo>
                  <a:pt x="0" y="457200"/>
                </a:moveTo>
                <a:lnTo>
                  <a:pt x="0" y="514350"/>
                </a:lnTo>
                <a:cubicBezTo>
                  <a:pt x="0" y="545912"/>
                  <a:pt x="25587" y="571500"/>
                  <a:pt x="57150" y="571500"/>
                </a:cubicBezTo>
                <a:lnTo>
                  <a:pt x="114300" y="571500"/>
                </a:lnTo>
                <a:moveTo>
                  <a:pt x="1485900" y="114300"/>
                </a:moveTo>
                <a:lnTo>
                  <a:pt x="1485900" y="57150"/>
                </a:lnTo>
                <a:cubicBezTo>
                  <a:pt x="1485900" y="25587"/>
                  <a:pt x="1460312" y="0"/>
                  <a:pt x="1428750" y="0"/>
                </a:cubicBezTo>
                <a:lnTo>
                  <a:pt x="1371600" y="0"/>
                </a:lnTo>
                <a:moveTo>
                  <a:pt x="1371600" y="571500"/>
                </a:moveTo>
                <a:lnTo>
                  <a:pt x="114300" y="571500"/>
                </a:lnTo>
                <a:moveTo>
                  <a:pt x="1485900" y="457200"/>
                </a:moveTo>
                <a:lnTo>
                  <a:pt x="1485900" y="514350"/>
                </a:lnTo>
                <a:cubicBezTo>
                  <a:pt x="1485900" y="545912"/>
                  <a:pt x="1460312" y="571500"/>
                  <a:pt x="1428750" y="571500"/>
                </a:cubicBezTo>
                <a:lnTo>
                  <a:pt x="1371600" y="571500"/>
                </a:lnTo>
              </a:path>
            </a:pathLst>
          </a:custGeom>
          <a:noFill/>
          <a:ln w="7143">
            <a:solidFill>
              <a:srgbClr val="FFFFFF"/>
            </a:solidFill>
          </a:ln>
        </p:spPr>
        <p:txBody>
          <a:bodyPr rtlCol="0" anchor="ctr"/>
          <a:lstStyle/>
          <a:p>
            <a:pPr algn="ctr"/>
            <a:endParaRPr/>
          </a:p>
        </p:txBody>
      </p:sp>
      <p:sp>
        <p:nvSpPr>
          <p:cNvPr id="84" name="Rounded Rectangle 9">
            <a:extLst>
              <a:ext uri="{FF2B5EF4-FFF2-40B4-BE49-F238E27FC236}">
                <a16:creationId xmlns:a16="http://schemas.microsoft.com/office/drawing/2014/main" id="{610EB36B-62CF-D964-2AAC-7165C445716A}"/>
              </a:ext>
            </a:extLst>
          </p:cNvPr>
          <p:cNvSpPr/>
          <p:nvPr/>
        </p:nvSpPr>
        <p:spPr>
          <a:xfrm>
            <a:off x="7598008" y="2239241"/>
            <a:ext cx="1600200" cy="800100"/>
          </a:xfrm>
          <a:custGeom>
            <a:avLst/>
            <a:gdLst/>
            <a:ahLst/>
            <a:cxnLst/>
            <a:rect l="0" t="0" r="0" b="0"/>
            <a:pathLst>
              <a:path w="1600200" h="800100">
                <a:moveTo>
                  <a:pt x="1600200" y="742950"/>
                </a:moveTo>
                <a:cubicBezTo>
                  <a:pt x="1600200" y="774515"/>
                  <a:pt x="1574615" y="800100"/>
                  <a:pt x="1543050" y="800100"/>
                </a:cubicBezTo>
                <a:lnTo>
                  <a:pt x="1485900" y="800100"/>
                </a:lnTo>
                <a:lnTo>
                  <a:pt x="57150" y="800100"/>
                </a:lnTo>
                <a:cubicBezTo>
                  <a:pt x="25584" y="800100"/>
                  <a:pt x="0" y="774515"/>
                  <a:pt x="0" y="742950"/>
                </a:cubicBezTo>
                <a:lnTo>
                  <a:pt x="0" y="57150"/>
                </a:lnTo>
                <a:cubicBezTo>
                  <a:pt x="0" y="25584"/>
                  <a:pt x="25584" y="0"/>
                  <a:pt x="57150" y="0"/>
                </a:cubicBezTo>
                <a:lnTo>
                  <a:pt x="1543050" y="0"/>
                </a:lnTo>
                <a:cubicBezTo>
                  <a:pt x="1574615" y="0"/>
                  <a:pt x="1600200" y="25584"/>
                  <a:pt x="1600200" y="57150"/>
                </a:cubicBezTo>
                <a:lnTo>
                  <a:pt x="1600200" y="742950"/>
                </a:lnTo>
              </a:path>
            </a:pathLst>
          </a:custGeom>
          <a:solidFill>
            <a:schemeClr val="accent1"/>
          </a:solidFill>
          <a:ln>
            <a:noFill/>
          </a:ln>
        </p:spPr>
        <p:txBody>
          <a:bodyPr rtlCol="0" anchor="ctr"/>
          <a:lstStyle/>
          <a:p>
            <a:pPr algn="ctr"/>
            <a:endParaRPr dirty="0"/>
          </a:p>
        </p:txBody>
      </p:sp>
      <p:sp>
        <p:nvSpPr>
          <p:cNvPr id="86" name="Rounded Rectangle 11">
            <a:extLst>
              <a:ext uri="{FF2B5EF4-FFF2-40B4-BE49-F238E27FC236}">
                <a16:creationId xmlns:a16="http://schemas.microsoft.com/office/drawing/2014/main" id="{D6E53FAA-BE01-1723-1BFC-3C71595849F7}"/>
              </a:ext>
            </a:extLst>
          </p:cNvPr>
          <p:cNvSpPr/>
          <p:nvPr/>
        </p:nvSpPr>
        <p:spPr>
          <a:xfrm>
            <a:off x="7598008" y="3153641"/>
            <a:ext cx="1600200" cy="571500"/>
          </a:xfrm>
          <a:custGeom>
            <a:avLst/>
            <a:gdLst/>
            <a:ahLst/>
            <a:cxnLst/>
            <a:rect l="0" t="0" r="0" b="0"/>
            <a:pathLst>
              <a:path w="1600200" h="571500">
                <a:moveTo>
                  <a:pt x="1600200" y="514350"/>
                </a:moveTo>
                <a:cubicBezTo>
                  <a:pt x="1600200" y="545915"/>
                  <a:pt x="1574615" y="571500"/>
                  <a:pt x="1543050" y="571500"/>
                </a:cubicBezTo>
                <a:lnTo>
                  <a:pt x="1485900" y="571500"/>
                </a:lnTo>
                <a:lnTo>
                  <a:pt x="57150" y="571500"/>
                </a:lnTo>
                <a:cubicBezTo>
                  <a:pt x="25584" y="571500"/>
                  <a:pt x="0" y="545915"/>
                  <a:pt x="0" y="514350"/>
                </a:cubicBezTo>
                <a:lnTo>
                  <a:pt x="0" y="57150"/>
                </a:lnTo>
                <a:cubicBezTo>
                  <a:pt x="0" y="25584"/>
                  <a:pt x="25584" y="0"/>
                  <a:pt x="57150" y="0"/>
                </a:cubicBezTo>
                <a:lnTo>
                  <a:pt x="1543050" y="0"/>
                </a:lnTo>
                <a:cubicBezTo>
                  <a:pt x="1574615" y="0"/>
                  <a:pt x="1600200" y="25584"/>
                  <a:pt x="1600200" y="57150"/>
                </a:cubicBezTo>
                <a:lnTo>
                  <a:pt x="1600200" y="514350"/>
                </a:lnTo>
              </a:path>
            </a:pathLst>
          </a:custGeom>
          <a:noFill/>
          <a:ln>
            <a:solidFill>
              <a:schemeClr val="accent1"/>
            </a:solidFill>
          </a:ln>
        </p:spPr>
        <p:txBody>
          <a:bodyPr rtlCol="0" anchor="ctr"/>
          <a:lstStyle/>
          <a:p>
            <a:pPr algn="ctr"/>
            <a:endParaRPr>
              <a:solidFill>
                <a:schemeClr val="bg2">
                  <a:lumMod val="25000"/>
                </a:schemeClr>
              </a:solidFill>
            </a:endParaRPr>
          </a:p>
        </p:txBody>
      </p:sp>
      <p:sp>
        <p:nvSpPr>
          <p:cNvPr id="87" name="Rounded Rectangle 12">
            <a:extLst>
              <a:ext uri="{FF2B5EF4-FFF2-40B4-BE49-F238E27FC236}">
                <a16:creationId xmlns:a16="http://schemas.microsoft.com/office/drawing/2014/main" id="{A7D108A9-0E5E-A53E-D0F9-D71190B50B4E}"/>
              </a:ext>
            </a:extLst>
          </p:cNvPr>
          <p:cNvSpPr/>
          <p:nvPr/>
        </p:nvSpPr>
        <p:spPr>
          <a:xfrm>
            <a:off x="7598008" y="3153641"/>
            <a:ext cx="1600200" cy="571500"/>
          </a:xfrm>
          <a:custGeom>
            <a:avLst/>
            <a:gdLst/>
            <a:ahLst/>
            <a:cxnLst/>
            <a:rect l="0" t="0" r="0" b="0"/>
            <a:pathLst>
              <a:path w="1600200" h="571500">
                <a:moveTo>
                  <a:pt x="0" y="114300"/>
                </a:moveTo>
                <a:lnTo>
                  <a:pt x="0" y="57150"/>
                </a:lnTo>
                <a:cubicBezTo>
                  <a:pt x="0" y="25587"/>
                  <a:pt x="25587" y="0"/>
                  <a:pt x="57150" y="0"/>
                </a:cubicBezTo>
                <a:lnTo>
                  <a:pt x="114300" y="0"/>
                </a:lnTo>
                <a:moveTo>
                  <a:pt x="1600200" y="114300"/>
                </a:moveTo>
                <a:lnTo>
                  <a:pt x="1600200" y="457200"/>
                </a:lnTo>
                <a:moveTo>
                  <a:pt x="0" y="457200"/>
                </a:moveTo>
                <a:lnTo>
                  <a:pt x="0" y="114300"/>
                </a:lnTo>
                <a:moveTo>
                  <a:pt x="114300" y="0"/>
                </a:moveTo>
                <a:lnTo>
                  <a:pt x="1485900" y="0"/>
                </a:lnTo>
                <a:moveTo>
                  <a:pt x="0" y="457200"/>
                </a:moveTo>
                <a:lnTo>
                  <a:pt x="0" y="514350"/>
                </a:lnTo>
                <a:cubicBezTo>
                  <a:pt x="0" y="545912"/>
                  <a:pt x="25587" y="571500"/>
                  <a:pt x="57150" y="571500"/>
                </a:cubicBezTo>
                <a:lnTo>
                  <a:pt x="114300" y="571500"/>
                </a:lnTo>
                <a:moveTo>
                  <a:pt x="1600200" y="114300"/>
                </a:moveTo>
                <a:lnTo>
                  <a:pt x="1600200" y="57150"/>
                </a:lnTo>
                <a:cubicBezTo>
                  <a:pt x="1600200" y="25587"/>
                  <a:pt x="1574612" y="0"/>
                  <a:pt x="1543050" y="0"/>
                </a:cubicBezTo>
                <a:lnTo>
                  <a:pt x="1485900" y="0"/>
                </a:lnTo>
                <a:moveTo>
                  <a:pt x="1485900" y="571500"/>
                </a:moveTo>
                <a:lnTo>
                  <a:pt x="114300" y="571500"/>
                </a:lnTo>
                <a:moveTo>
                  <a:pt x="1600200" y="457200"/>
                </a:moveTo>
                <a:lnTo>
                  <a:pt x="1600200" y="514350"/>
                </a:lnTo>
                <a:cubicBezTo>
                  <a:pt x="1600200" y="545912"/>
                  <a:pt x="1574612" y="571500"/>
                  <a:pt x="1543050" y="571500"/>
                </a:cubicBezTo>
                <a:lnTo>
                  <a:pt x="1485900" y="571500"/>
                </a:lnTo>
              </a:path>
            </a:pathLst>
          </a:custGeom>
          <a:noFill/>
          <a:ln w="7143">
            <a:solidFill>
              <a:schemeClr val="accent1"/>
            </a:solidFill>
          </a:ln>
        </p:spPr>
        <p:txBody>
          <a:bodyPr rtlCol="0" anchor="ctr"/>
          <a:lstStyle/>
          <a:p>
            <a:pPr algn="ctr"/>
            <a:endParaRPr>
              <a:solidFill>
                <a:schemeClr val="bg2">
                  <a:lumMod val="25000"/>
                </a:schemeClr>
              </a:solidFill>
            </a:endParaRPr>
          </a:p>
        </p:txBody>
      </p:sp>
      <p:sp>
        <p:nvSpPr>
          <p:cNvPr id="88" name="Rounded Rectangle 13">
            <a:extLst>
              <a:ext uri="{FF2B5EF4-FFF2-40B4-BE49-F238E27FC236}">
                <a16:creationId xmlns:a16="http://schemas.microsoft.com/office/drawing/2014/main" id="{80781B8A-04DD-A95B-9F88-36861AEF4D84}"/>
              </a:ext>
            </a:extLst>
          </p:cNvPr>
          <p:cNvSpPr/>
          <p:nvPr/>
        </p:nvSpPr>
        <p:spPr>
          <a:xfrm>
            <a:off x="7598008" y="3839441"/>
            <a:ext cx="1600200" cy="914400"/>
          </a:xfrm>
          <a:custGeom>
            <a:avLst/>
            <a:gdLst/>
            <a:ahLst/>
            <a:cxnLst/>
            <a:rect l="0" t="0" r="0" b="0"/>
            <a:pathLst>
              <a:path w="1600200" h="914400">
                <a:moveTo>
                  <a:pt x="1600200" y="857250"/>
                </a:moveTo>
                <a:cubicBezTo>
                  <a:pt x="1600200" y="888815"/>
                  <a:pt x="1574615" y="914400"/>
                  <a:pt x="1543050" y="914400"/>
                </a:cubicBezTo>
                <a:lnTo>
                  <a:pt x="1485900" y="914400"/>
                </a:lnTo>
                <a:lnTo>
                  <a:pt x="57150" y="914400"/>
                </a:lnTo>
                <a:cubicBezTo>
                  <a:pt x="25584" y="914400"/>
                  <a:pt x="0" y="888815"/>
                  <a:pt x="0" y="857250"/>
                </a:cubicBezTo>
                <a:lnTo>
                  <a:pt x="0" y="57150"/>
                </a:lnTo>
                <a:cubicBezTo>
                  <a:pt x="0" y="25584"/>
                  <a:pt x="25584" y="0"/>
                  <a:pt x="57150" y="0"/>
                </a:cubicBezTo>
                <a:lnTo>
                  <a:pt x="1543050" y="0"/>
                </a:lnTo>
                <a:cubicBezTo>
                  <a:pt x="1574615" y="0"/>
                  <a:pt x="1600200" y="25584"/>
                  <a:pt x="1600200" y="57150"/>
                </a:cubicBezTo>
                <a:lnTo>
                  <a:pt x="1600200" y="857250"/>
                </a:lnTo>
              </a:path>
            </a:pathLst>
          </a:custGeom>
          <a:noFill/>
          <a:ln>
            <a:solidFill>
              <a:schemeClr val="accent1"/>
            </a:solidFill>
          </a:ln>
        </p:spPr>
        <p:txBody>
          <a:bodyPr rtlCol="0" anchor="ctr"/>
          <a:lstStyle/>
          <a:p>
            <a:pPr algn="ctr"/>
            <a:endParaRPr>
              <a:solidFill>
                <a:schemeClr val="bg2">
                  <a:lumMod val="25000"/>
                </a:schemeClr>
              </a:solidFill>
            </a:endParaRPr>
          </a:p>
        </p:txBody>
      </p:sp>
      <p:sp>
        <p:nvSpPr>
          <p:cNvPr id="89" name="Rounded Rectangle 14">
            <a:extLst>
              <a:ext uri="{FF2B5EF4-FFF2-40B4-BE49-F238E27FC236}">
                <a16:creationId xmlns:a16="http://schemas.microsoft.com/office/drawing/2014/main" id="{9A929B69-9EBF-0C21-56E4-46CD7D3F8B9C}"/>
              </a:ext>
            </a:extLst>
          </p:cNvPr>
          <p:cNvSpPr/>
          <p:nvPr/>
        </p:nvSpPr>
        <p:spPr>
          <a:xfrm>
            <a:off x="7598008" y="3839441"/>
            <a:ext cx="1600200" cy="914400"/>
          </a:xfrm>
          <a:custGeom>
            <a:avLst/>
            <a:gdLst/>
            <a:ahLst/>
            <a:cxnLst/>
            <a:rect l="0" t="0" r="0" b="0"/>
            <a:pathLst>
              <a:path w="1600200" h="914400">
                <a:moveTo>
                  <a:pt x="0" y="114300"/>
                </a:moveTo>
                <a:lnTo>
                  <a:pt x="0" y="57150"/>
                </a:lnTo>
                <a:cubicBezTo>
                  <a:pt x="0" y="25587"/>
                  <a:pt x="25587" y="0"/>
                  <a:pt x="57150" y="0"/>
                </a:cubicBezTo>
                <a:lnTo>
                  <a:pt x="114300" y="0"/>
                </a:lnTo>
                <a:moveTo>
                  <a:pt x="1600200" y="114300"/>
                </a:moveTo>
                <a:lnTo>
                  <a:pt x="1600200" y="800100"/>
                </a:lnTo>
                <a:moveTo>
                  <a:pt x="0" y="800100"/>
                </a:moveTo>
                <a:lnTo>
                  <a:pt x="0" y="114300"/>
                </a:lnTo>
                <a:moveTo>
                  <a:pt x="114300" y="0"/>
                </a:moveTo>
                <a:lnTo>
                  <a:pt x="1485900" y="0"/>
                </a:lnTo>
                <a:moveTo>
                  <a:pt x="0" y="800100"/>
                </a:moveTo>
                <a:lnTo>
                  <a:pt x="0" y="857250"/>
                </a:lnTo>
                <a:cubicBezTo>
                  <a:pt x="0" y="888812"/>
                  <a:pt x="25587" y="914400"/>
                  <a:pt x="57150" y="914400"/>
                </a:cubicBezTo>
                <a:lnTo>
                  <a:pt x="114300" y="914400"/>
                </a:lnTo>
                <a:moveTo>
                  <a:pt x="1600200" y="114300"/>
                </a:moveTo>
                <a:lnTo>
                  <a:pt x="1600200" y="57150"/>
                </a:lnTo>
                <a:cubicBezTo>
                  <a:pt x="1600200" y="25587"/>
                  <a:pt x="1574612" y="0"/>
                  <a:pt x="1543050" y="0"/>
                </a:cubicBezTo>
                <a:lnTo>
                  <a:pt x="1485900" y="0"/>
                </a:lnTo>
                <a:moveTo>
                  <a:pt x="1485900" y="914400"/>
                </a:moveTo>
                <a:lnTo>
                  <a:pt x="114300" y="914400"/>
                </a:lnTo>
                <a:moveTo>
                  <a:pt x="1600200" y="800100"/>
                </a:moveTo>
                <a:lnTo>
                  <a:pt x="1600200" y="857250"/>
                </a:lnTo>
                <a:cubicBezTo>
                  <a:pt x="1600200" y="888812"/>
                  <a:pt x="1574612" y="914400"/>
                  <a:pt x="1543050" y="914400"/>
                </a:cubicBezTo>
                <a:lnTo>
                  <a:pt x="1485900" y="914400"/>
                </a:lnTo>
              </a:path>
            </a:pathLst>
          </a:custGeom>
          <a:noFill/>
          <a:ln w="7143">
            <a:solidFill>
              <a:schemeClr val="accent1"/>
            </a:solidFill>
          </a:ln>
        </p:spPr>
        <p:txBody>
          <a:bodyPr rtlCol="0" anchor="ctr"/>
          <a:lstStyle/>
          <a:p>
            <a:pPr algn="ctr"/>
            <a:endParaRPr>
              <a:solidFill>
                <a:schemeClr val="bg2">
                  <a:lumMod val="25000"/>
                </a:schemeClr>
              </a:solidFill>
            </a:endParaRPr>
          </a:p>
        </p:txBody>
      </p:sp>
      <p:sp>
        <p:nvSpPr>
          <p:cNvPr id="90" name="Rounded Rectangle 15">
            <a:extLst>
              <a:ext uri="{FF2B5EF4-FFF2-40B4-BE49-F238E27FC236}">
                <a16:creationId xmlns:a16="http://schemas.microsoft.com/office/drawing/2014/main" id="{54F2A242-8157-DC31-6F63-84A75750A718}"/>
              </a:ext>
            </a:extLst>
          </p:cNvPr>
          <p:cNvSpPr/>
          <p:nvPr/>
        </p:nvSpPr>
        <p:spPr>
          <a:xfrm>
            <a:off x="7598008" y="4868141"/>
            <a:ext cx="1600200" cy="571500"/>
          </a:xfrm>
          <a:custGeom>
            <a:avLst/>
            <a:gdLst/>
            <a:ahLst/>
            <a:cxnLst/>
            <a:rect l="0" t="0" r="0" b="0"/>
            <a:pathLst>
              <a:path w="1600200" h="571500">
                <a:moveTo>
                  <a:pt x="1600200" y="514350"/>
                </a:moveTo>
                <a:cubicBezTo>
                  <a:pt x="1600200" y="545915"/>
                  <a:pt x="1574615" y="571500"/>
                  <a:pt x="1543050" y="571500"/>
                </a:cubicBezTo>
                <a:lnTo>
                  <a:pt x="1485900" y="571500"/>
                </a:lnTo>
                <a:lnTo>
                  <a:pt x="57150" y="571500"/>
                </a:lnTo>
                <a:cubicBezTo>
                  <a:pt x="25584" y="571500"/>
                  <a:pt x="0" y="545915"/>
                  <a:pt x="0" y="514350"/>
                </a:cubicBezTo>
                <a:lnTo>
                  <a:pt x="0" y="57150"/>
                </a:lnTo>
                <a:cubicBezTo>
                  <a:pt x="0" y="25584"/>
                  <a:pt x="25584" y="0"/>
                  <a:pt x="57150" y="0"/>
                </a:cubicBezTo>
                <a:lnTo>
                  <a:pt x="1543050" y="0"/>
                </a:lnTo>
                <a:cubicBezTo>
                  <a:pt x="1574615" y="0"/>
                  <a:pt x="1600200" y="25584"/>
                  <a:pt x="1600200" y="57150"/>
                </a:cubicBezTo>
                <a:lnTo>
                  <a:pt x="1600200" y="514350"/>
                </a:lnTo>
              </a:path>
            </a:pathLst>
          </a:custGeom>
          <a:noFill/>
          <a:ln>
            <a:solidFill>
              <a:schemeClr val="accent1"/>
            </a:solidFill>
          </a:ln>
        </p:spPr>
        <p:txBody>
          <a:bodyPr rtlCol="0" anchor="ctr"/>
          <a:lstStyle/>
          <a:p>
            <a:pPr algn="ctr"/>
            <a:endParaRPr>
              <a:solidFill>
                <a:schemeClr val="bg2">
                  <a:lumMod val="25000"/>
                </a:schemeClr>
              </a:solidFill>
            </a:endParaRPr>
          </a:p>
        </p:txBody>
      </p:sp>
      <p:sp>
        <p:nvSpPr>
          <p:cNvPr id="91" name="Rounded Rectangle 16">
            <a:extLst>
              <a:ext uri="{FF2B5EF4-FFF2-40B4-BE49-F238E27FC236}">
                <a16:creationId xmlns:a16="http://schemas.microsoft.com/office/drawing/2014/main" id="{DFC21237-C1CD-D88B-D9EF-74F49541991E}"/>
              </a:ext>
            </a:extLst>
          </p:cNvPr>
          <p:cNvSpPr/>
          <p:nvPr/>
        </p:nvSpPr>
        <p:spPr>
          <a:xfrm>
            <a:off x="7598008" y="4868141"/>
            <a:ext cx="1600200" cy="571500"/>
          </a:xfrm>
          <a:custGeom>
            <a:avLst/>
            <a:gdLst/>
            <a:ahLst/>
            <a:cxnLst/>
            <a:rect l="0" t="0" r="0" b="0"/>
            <a:pathLst>
              <a:path w="1600200" h="571500">
                <a:moveTo>
                  <a:pt x="0" y="114300"/>
                </a:moveTo>
                <a:lnTo>
                  <a:pt x="0" y="57150"/>
                </a:lnTo>
                <a:cubicBezTo>
                  <a:pt x="0" y="25587"/>
                  <a:pt x="25587" y="0"/>
                  <a:pt x="57150" y="0"/>
                </a:cubicBezTo>
                <a:lnTo>
                  <a:pt x="114300" y="0"/>
                </a:lnTo>
                <a:moveTo>
                  <a:pt x="1600200" y="114300"/>
                </a:moveTo>
                <a:lnTo>
                  <a:pt x="1600200" y="457200"/>
                </a:lnTo>
                <a:moveTo>
                  <a:pt x="0" y="457200"/>
                </a:moveTo>
                <a:lnTo>
                  <a:pt x="0" y="114300"/>
                </a:lnTo>
                <a:moveTo>
                  <a:pt x="114300" y="0"/>
                </a:moveTo>
                <a:lnTo>
                  <a:pt x="1485900" y="0"/>
                </a:lnTo>
                <a:moveTo>
                  <a:pt x="0" y="457200"/>
                </a:moveTo>
                <a:lnTo>
                  <a:pt x="0" y="514350"/>
                </a:lnTo>
                <a:cubicBezTo>
                  <a:pt x="0" y="545912"/>
                  <a:pt x="25587" y="571500"/>
                  <a:pt x="57150" y="571500"/>
                </a:cubicBezTo>
                <a:lnTo>
                  <a:pt x="114300" y="571500"/>
                </a:lnTo>
                <a:moveTo>
                  <a:pt x="1600200" y="114300"/>
                </a:moveTo>
                <a:lnTo>
                  <a:pt x="1600200" y="57150"/>
                </a:lnTo>
                <a:cubicBezTo>
                  <a:pt x="1600200" y="25587"/>
                  <a:pt x="1574612" y="0"/>
                  <a:pt x="1543050" y="0"/>
                </a:cubicBezTo>
                <a:lnTo>
                  <a:pt x="1485900" y="0"/>
                </a:lnTo>
                <a:moveTo>
                  <a:pt x="1485900" y="571500"/>
                </a:moveTo>
                <a:lnTo>
                  <a:pt x="114300" y="571500"/>
                </a:lnTo>
                <a:moveTo>
                  <a:pt x="1600200" y="457200"/>
                </a:moveTo>
                <a:lnTo>
                  <a:pt x="1600200" y="514350"/>
                </a:lnTo>
                <a:cubicBezTo>
                  <a:pt x="1600200" y="545912"/>
                  <a:pt x="1574612" y="571500"/>
                  <a:pt x="1543050" y="571500"/>
                </a:cubicBezTo>
                <a:lnTo>
                  <a:pt x="1485900" y="571500"/>
                </a:lnTo>
              </a:path>
            </a:pathLst>
          </a:custGeom>
          <a:noFill/>
          <a:ln w="7143">
            <a:solidFill>
              <a:schemeClr val="accent1"/>
            </a:solidFill>
          </a:ln>
        </p:spPr>
        <p:txBody>
          <a:bodyPr rtlCol="0" anchor="ctr"/>
          <a:lstStyle/>
          <a:p>
            <a:pPr algn="ctr"/>
            <a:endParaRPr>
              <a:solidFill>
                <a:schemeClr val="bg2">
                  <a:lumMod val="25000"/>
                </a:schemeClr>
              </a:solidFill>
            </a:endParaRPr>
          </a:p>
        </p:txBody>
      </p:sp>
      <p:sp>
        <p:nvSpPr>
          <p:cNvPr id="92" name="Rounded Rectangle 17">
            <a:extLst>
              <a:ext uri="{FF2B5EF4-FFF2-40B4-BE49-F238E27FC236}">
                <a16:creationId xmlns:a16="http://schemas.microsoft.com/office/drawing/2014/main" id="{F72EC9CA-9A40-435D-273A-CC4CC13D06CF}"/>
              </a:ext>
            </a:extLst>
          </p:cNvPr>
          <p:cNvSpPr/>
          <p:nvPr/>
        </p:nvSpPr>
        <p:spPr>
          <a:xfrm>
            <a:off x="9312508" y="2239241"/>
            <a:ext cx="1600200" cy="800100"/>
          </a:xfrm>
          <a:custGeom>
            <a:avLst/>
            <a:gdLst/>
            <a:ahLst/>
            <a:cxnLst/>
            <a:rect l="0" t="0" r="0" b="0"/>
            <a:pathLst>
              <a:path w="1600200" h="800100">
                <a:moveTo>
                  <a:pt x="1600200" y="742950"/>
                </a:moveTo>
                <a:cubicBezTo>
                  <a:pt x="1600200" y="774515"/>
                  <a:pt x="1574615" y="800100"/>
                  <a:pt x="1543050" y="800100"/>
                </a:cubicBezTo>
                <a:lnTo>
                  <a:pt x="1485900" y="800100"/>
                </a:lnTo>
                <a:lnTo>
                  <a:pt x="57150" y="800100"/>
                </a:lnTo>
                <a:cubicBezTo>
                  <a:pt x="25584" y="800100"/>
                  <a:pt x="0" y="774515"/>
                  <a:pt x="0" y="742950"/>
                </a:cubicBezTo>
                <a:lnTo>
                  <a:pt x="0" y="57150"/>
                </a:lnTo>
                <a:cubicBezTo>
                  <a:pt x="0" y="25584"/>
                  <a:pt x="25584" y="0"/>
                  <a:pt x="57150" y="0"/>
                </a:cubicBezTo>
                <a:lnTo>
                  <a:pt x="1543050" y="0"/>
                </a:lnTo>
                <a:cubicBezTo>
                  <a:pt x="1574615" y="0"/>
                  <a:pt x="1600200" y="25584"/>
                  <a:pt x="1600200" y="57150"/>
                </a:cubicBezTo>
                <a:lnTo>
                  <a:pt x="1600200" y="742950"/>
                </a:lnTo>
              </a:path>
            </a:pathLst>
          </a:custGeom>
          <a:solidFill>
            <a:schemeClr val="accent1"/>
          </a:solidFill>
          <a:ln>
            <a:noFill/>
          </a:ln>
        </p:spPr>
        <p:txBody>
          <a:bodyPr rtlCol="0" anchor="ctr"/>
          <a:lstStyle/>
          <a:p>
            <a:pPr algn="ctr"/>
            <a:endParaRPr/>
          </a:p>
        </p:txBody>
      </p:sp>
      <p:sp>
        <p:nvSpPr>
          <p:cNvPr id="93" name="Rounded Rectangle 18">
            <a:extLst>
              <a:ext uri="{FF2B5EF4-FFF2-40B4-BE49-F238E27FC236}">
                <a16:creationId xmlns:a16="http://schemas.microsoft.com/office/drawing/2014/main" id="{A17ACEE0-EE9A-C1F1-C798-18E0D8F816F9}"/>
              </a:ext>
            </a:extLst>
          </p:cNvPr>
          <p:cNvSpPr/>
          <p:nvPr/>
        </p:nvSpPr>
        <p:spPr>
          <a:xfrm>
            <a:off x="9312508" y="2239241"/>
            <a:ext cx="1600200" cy="800100"/>
          </a:xfrm>
          <a:custGeom>
            <a:avLst/>
            <a:gdLst/>
            <a:ahLst/>
            <a:cxnLst/>
            <a:rect l="0" t="0" r="0" b="0"/>
            <a:pathLst>
              <a:path w="1600200" h="800100">
                <a:moveTo>
                  <a:pt x="0" y="114300"/>
                </a:moveTo>
                <a:lnTo>
                  <a:pt x="0" y="57150"/>
                </a:lnTo>
                <a:cubicBezTo>
                  <a:pt x="0" y="25587"/>
                  <a:pt x="25587" y="0"/>
                  <a:pt x="57150" y="0"/>
                </a:cubicBezTo>
                <a:lnTo>
                  <a:pt x="114300" y="0"/>
                </a:lnTo>
                <a:moveTo>
                  <a:pt x="1600200" y="114300"/>
                </a:moveTo>
                <a:lnTo>
                  <a:pt x="1600200" y="685800"/>
                </a:lnTo>
                <a:moveTo>
                  <a:pt x="0" y="685800"/>
                </a:moveTo>
                <a:lnTo>
                  <a:pt x="0" y="114300"/>
                </a:lnTo>
                <a:moveTo>
                  <a:pt x="114300" y="0"/>
                </a:moveTo>
                <a:lnTo>
                  <a:pt x="1485900" y="0"/>
                </a:lnTo>
                <a:moveTo>
                  <a:pt x="0" y="685800"/>
                </a:moveTo>
                <a:lnTo>
                  <a:pt x="0" y="742950"/>
                </a:lnTo>
                <a:cubicBezTo>
                  <a:pt x="0" y="774512"/>
                  <a:pt x="25587" y="800100"/>
                  <a:pt x="57150" y="800100"/>
                </a:cubicBezTo>
                <a:lnTo>
                  <a:pt x="114300" y="800100"/>
                </a:lnTo>
                <a:moveTo>
                  <a:pt x="1600200" y="114300"/>
                </a:moveTo>
                <a:lnTo>
                  <a:pt x="1600200" y="57150"/>
                </a:lnTo>
                <a:cubicBezTo>
                  <a:pt x="1600200" y="25587"/>
                  <a:pt x="1574612" y="0"/>
                  <a:pt x="1543050" y="0"/>
                </a:cubicBezTo>
                <a:lnTo>
                  <a:pt x="1485900" y="0"/>
                </a:lnTo>
                <a:moveTo>
                  <a:pt x="1485900" y="800100"/>
                </a:moveTo>
                <a:lnTo>
                  <a:pt x="114300" y="800100"/>
                </a:lnTo>
                <a:moveTo>
                  <a:pt x="1600200" y="685800"/>
                </a:moveTo>
                <a:lnTo>
                  <a:pt x="1600200" y="742950"/>
                </a:lnTo>
                <a:cubicBezTo>
                  <a:pt x="1600200" y="774512"/>
                  <a:pt x="1574612" y="800100"/>
                  <a:pt x="1543050" y="800100"/>
                </a:cubicBezTo>
                <a:lnTo>
                  <a:pt x="1485900" y="800100"/>
                </a:lnTo>
              </a:path>
            </a:pathLst>
          </a:custGeom>
          <a:noFill/>
          <a:ln w="7143">
            <a:solidFill>
              <a:srgbClr val="FFFFFF"/>
            </a:solidFill>
          </a:ln>
        </p:spPr>
        <p:txBody>
          <a:bodyPr rtlCol="0" anchor="ctr"/>
          <a:lstStyle/>
          <a:p>
            <a:pPr algn="ctr"/>
            <a:endParaRPr/>
          </a:p>
        </p:txBody>
      </p:sp>
      <p:sp>
        <p:nvSpPr>
          <p:cNvPr id="94" name="Rounded Rectangle 19">
            <a:extLst>
              <a:ext uri="{FF2B5EF4-FFF2-40B4-BE49-F238E27FC236}">
                <a16:creationId xmlns:a16="http://schemas.microsoft.com/office/drawing/2014/main" id="{15A39566-B67F-E700-D82F-155B12D9C0D9}"/>
              </a:ext>
            </a:extLst>
          </p:cNvPr>
          <p:cNvSpPr/>
          <p:nvPr/>
        </p:nvSpPr>
        <p:spPr>
          <a:xfrm>
            <a:off x="9312508" y="3153641"/>
            <a:ext cx="1600200" cy="571500"/>
          </a:xfrm>
          <a:custGeom>
            <a:avLst/>
            <a:gdLst/>
            <a:ahLst/>
            <a:cxnLst/>
            <a:rect l="0" t="0" r="0" b="0"/>
            <a:pathLst>
              <a:path w="1600200" h="571500">
                <a:moveTo>
                  <a:pt x="1600200" y="514350"/>
                </a:moveTo>
                <a:cubicBezTo>
                  <a:pt x="1600200" y="545915"/>
                  <a:pt x="1574615" y="571500"/>
                  <a:pt x="1543050" y="571500"/>
                </a:cubicBezTo>
                <a:lnTo>
                  <a:pt x="1485900" y="571500"/>
                </a:lnTo>
                <a:lnTo>
                  <a:pt x="57150" y="571500"/>
                </a:lnTo>
                <a:cubicBezTo>
                  <a:pt x="25584" y="571500"/>
                  <a:pt x="0" y="545915"/>
                  <a:pt x="0" y="514350"/>
                </a:cubicBezTo>
                <a:lnTo>
                  <a:pt x="0" y="57150"/>
                </a:lnTo>
                <a:cubicBezTo>
                  <a:pt x="0" y="25584"/>
                  <a:pt x="25584" y="0"/>
                  <a:pt x="57150" y="0"/>
                </a:cubicBezTo>
                <a:lnTo>
                  <a:pt x="1543050" y="0"/>
                </a:lnTo>
                <a:cubicBezTo>
                  <a:pt x="1574615" y="0"/>
                  <a:pt x="1600200" y="25584"/>
                  <a:pt x="1600200" y="57150"/>
                </a:cubicBezTo>
                <a:lnTo>
                  <a:pt x="1600200" y="514350"/>
                </a:lnTo>
              </a:path>
            </a:pathLst>
          </a:custGeom>
          <a:noFill/>
          <a:ln>
            <a:solidFill>
              <a:schemeClr val="accent1"/>
            </a:solidFill>
          </a:ln>
        </p:spPr>
        <p:txBody>
          <a:bodyPr rtlCol="0" anchor="ctr"/>
          <a:lstStyle/>
          <a:p>
            <a:pPr algn="ctr"/>
            <a:endParaRPr>
              <a:solidFill>
                <a:schemeClr val="bg2">
                  <a:lumMod val="25000"/>
                </a:schemeClr>
              </a:solidFill>
            </a:endParaRPr>
          </a:p>
        </p:txBody>
      </p:sp>
      <p:sp>
        <p:nvSpPr>
          <p:cNvPr id="95" name="Rounded Rectangle 20">
            <a:extLst>
              <a:ext uri="{FF2B5EF4-FFF2-40B4-BE49-F238E27FC236}">
                <a16:creationId xmlns:a16="http://schemas.microsoft.com/office/drawing/2014/main" id="{3A5E00B1-0AC2-591E-D1C2-FE6057308822}"/>
              </a:ext>
            </a:extLst>
          </p:cNvPr>
          <p:cNvSpPr/>
          <p:nvPr/>
        </p:nvSpPr>
        <p:spPr>
          <a:xfrm>
            <a:off x="9312508" y="3153641"/>
            <a:ext cx="1600200" cy="571500"/>
          </a:xfrm>
          <a:custGeom>
            <a:avLst/>
            <a:gdLst/>
            <a:ahLst/>
            <a:cxnLst/>
            <a:rect l="0" t="0" r="0" b="0"/>
            <a:pathLst>
              <a:path w="1600200" h="571500">
                <a:moveTo>
                  <a:pt x="0" y="114300"/>
                </a:moveTo>
                <a:lnTo>
                  <a:pt x="0" y="57150"/>
                </a:lnTo>
                <a:cubicBezTo>
                  <a:pt x="0" y="25587"/>
                  <a:pt x="25587" y="0"/>
                  <a:pt x="57150" y="0"/>
                </a:cubicBezTo>
                <a:lnTo>
                  <a:pt x="114300" y="0"/>
                </a:lnTo>
                <a:moveTo>
                  <a:pt x="1600200" y="114300"/>
                </a:moveTo>
                <a:lnTo>
                  <a:pt x="1600200" y="457200"/>
                </a:lnTo>
                <a:moveTo>
                  <a:pt x="0" y="457200"/>
                </a:moveTo>
                <a:lnTo>
                  <a:pt x="0" y="114300"/>
                </a:lnTo>
                <a:moveTo>
                  <a:pt x="114300" y="0"/>
                </a:moveTo>
                <a:lnTo>
                  <a:pt x="1485900" y="0"/>
                </a:lnTo>
                <a:moveTo>
                  <a:pt x="0" y="457200"/>
                </a:moveTo>
                <a:lnTo>
                  <a:pt x="0" y="514350"/>
                </a:lnTo>
                <a:cubicBezTo>
                  <a:pt x="0" y="545912"/>
                  <a:pt x="25587" y="571500"/>
                  <a:pt x="57150" y="571500"/>
                </a:cubicBezTo>
                <a:lnTo>
                  <a:pt x="114300" y="571500"/>
                </a:lnTo>
                <a:moveTo>
                  <a:pt x="1600200" y="114300"/>
                </a:moveTo>
                <a:lnTo>
                  <a:pt x="1600200" y="57150"/>
                </a:lnTo>
                <a:cubicBezTo>
                  <a:pt x="1600200" y="25587"/>
                  <a:pt x="1574612" y="0"/>
                  <a:pt x="1543050" y="0"/>
                </a:cubicBezTo>
                <a:lnTo>
                  <a:pt x="1485900" y="0"/>
                </a:lnTo>
                <a:moveTo>
                  <a:pt x="1485900" y="571500"/>
                </a:moveTo>
                <a:lnTo>
                  <a:pt x="114300" y="571500"/>
                </a:lnTo>
                <a:moveTo>
                  <a:pt x="1600200" y="457200"/>
                </a:moveTo>
                <a:lnTo>
                  <a:pt x="1600200" y="514350"/>
                </a:lnTo>
                <a:cubicBezTo>
                  <a:pt x="1600200" y="545912"/>
                  <a:pt x="1574612" y="571500"/>
                  <a:pt x="1543050" y="571500"/>
                </a:cubicBezTo>
                <a:lnTo>
                  <a:pt x="1485900" y="571500"/>
                </a:lnTo>
              </a:path>
            </a:pathLst>
          </a:custGeom>
          <a:noFill/>
          <a:ln w="7143">
            <a:solidFill>
              <a:schemeClr val="accent1"/>
            </a:solidFill>
          </a:ln>
        </p:spPr>
        <p:txBody>
          <a:bodyPr rtlCol="0" anchor="ctr"/>
          <a:lstStyle/>
          <a:p>
            <a:pPr algn="ctr"/>
            <a:endParaRPr>
              <a:solidFill>
                <a:schemeClr val="bg2">
                  <a:lumMod val="25000"/>
                </a:schemeClr>
              </a:solidFill>
            </a:endParaRPr>
          </a:p>
        </p:txBody>
      </p:sp>
      <p:sp>
        <p:nvSpPr>
          <p:cNvPr id="96" name="Rounded Rectangle 21">
            <a:extLst>
              <a:ext uri="{FF2B5EF4-FFF2-40B4-BE49-F238E27FC236}">
                <a16:creationId xmlns:a16="http://schemas.microsoft.com/office/drawing/2014/main" id="{AD31EF0D-8123-F779-BCF0-274AFAAC7853}"/>
              </a:ext>
            </a:extLst>
          </p:cNvPr>
          <p:cNvSpPr/>
          <p:nvPr/>
        </p:nvSpPr>
        <p:spPr>
          <a:xfrm>
            <a:off x="9312508" y="3839441"/>
            <a:ext cx="1600200" cy="914400"/>
          </a:xfrm>
          <a:custGeom>
            <a:avLst/>
            <a:gdLst/>
            <a:ahLst/>
            <a:cxnLst/>
            <a:rect l="0" t="0" r="0" b="0"/>
            <a:pathLst>
              <a:path w="1600200" h="914400">
                <a:moveTo>
                  <a:pt x="1600200" y="857250"/>
                </a:moveTo>
                <a:cubicBezTo>
                  <a:pt x="1600200" y="888815"/>
                  <a:pt x="1574615" y="914400"/>
                  <a:pt x="1543050" y="914400"/>
                </a:cubicBezTo>
                <a:lnTo>
                  <a:pt x="1485900" y="914400"/>
                </a:lnTo>
                <a:lnTo>
                  <a:pt x="57150" y="914400"/>
                </a:lnTo>
                <a:cubicBezTo>
                  <a:pt x="25584" y="914400"/>
                  <a:pt x="0" y="888815"/>
                  <a:pt x="0" y="857250"/>
                </a:cubicBezTo>
                <a:lnTo>
                  <a:pt x="0" y="57150"/>
                </a:lnTo>
                <a:cubicBezTo>
                  <a:pt x="0" y="25584"/>
                  <a:pt x="25584" y="0"/>
                  <a:pt x="57150" y="0"/>
                </a:cubicBezTo>
                <a:lnTo>
                  <a:pt x="1543050" y="0"/>
                </a:lnTo>
                <a:cubicBezTo>
                  <a:pt x="1574615" y="0"/>
                  <a:pt x="1600200" y="25584"/>
                  <a:pt x="1600200" y="57150"/>
                </a:cubicBezTo>
                <a:lnTo>
                  <a:pt x="1600200" y="857250"/>
                </a:lnTo>
              </a:path>
            </a:pathLst>
          </a:custGeom>
          <a:noFill/>
          <a:ln>
            <a:solidFill>
              <a:schemeClr val="accent1"/>
            </a:solidFill>
          </a:ln>
        </p:spPr>
        <p:txBody>
          <a:bodyPr rtlCol="0" anchor="ctr"/>
          <a:lstStyle/>
          <a:p>
            <a:pPr algn="ctr"/>
            <a:endParaRPr>
              <a:solidFill>
                <a:schemeClr val="bg2">
                  <a:lumMod val="25000"/>
                </a:schemeClr>
              </a:solidFill>
            </a:endParaRPr>
          </a:p>
        </p:txBody>
      </p:sp>
      <p:sp>
        <p:nvSpPr>
          <p:cNvPr id="97" name="Rounded Rectangle 22">
            <a:extLst>
              <a:ext uri="{FF2B5EF4-FFF2-40B4-BE49-F238E27FC236}">
                <a16:creationId xmlns:a16="http://schemas.microsoft.com/office/drawing/2014/main" id="{2A1B534D-817A-ED7E-036B-5B53609D68ED}"/>
              </a:ext>
            </a:extLst>
          </p:cNvPr>
          <p:cNvSpPr/>
          <p:nvPr/>
        </p:nvSpPr>
        <p:spPr>
          <a:xfrm>
            <a:off x="9312508" y="3839441"/>
            <a:ext cx="1600200" cy="914400"/>
          </a:xfrm>
          <a:custGeom>
            <a:avLst/>
            <a:gdLst/>
            <a:ahLst/>
            <a:cxnLst/>
            <a:rect l="0" t="0" r="0" b="0"/>
            <a:pathLst>
              <a:path w="1600200" h="914400">
                <a:moveTo>
                  <a:pt x="0" y="114300"/>
                </a:moveTo>
                <a:lnTo>
                  <a:pt x="0" y="57150"/>
                </a:lnTo>
                <a:cubicBezTo>
                  <a:pt x="0" y="25587"/>
                  <a:pt x="25587" y="0"/>
                  <a:pt x="57150" y="0"/>
                </a:cubicBezTo>
                <a:lnTo>
                  <a:pt x="114300" y="0"/>
                </a:lnTo>
                <a:moveTo>
                  <a:pt x="1600200" y="114300"/>
                </a:moveTo>
                <a:lnTo>
                  <a:pt x="1600200" y="800100"/>
                </a:lnTo>
                <a:moveTo>
                  <a:pt x="0" y="800100"/>
                </a:moveTo>
                <a:lnTo>
                  <a:pt x="0" y="114300"/>
                </a:lnTo>
                <a:moveTo>
                  <a:pt x="114300" y="0"/>
                </a:moveTo>
                <a:lnTo>
                  <a:pt x="1485900" y="0"/>
                </a:lnTo>
                <a:moveTo>
                  <a:pt x="0" y="800100"/>
                </a:moveTo>
                <a:lnTo>
                  <a:pt x="0" y="857250"/>
                </a:lnTo>
                <a:cubicBezTo>
                  <a:pt x="0" y="888812"/>
                  <a:pt x="25587" y="914400"/>
                  <a:pt x="57150" y="914400"/>
                </a:cubicBezTo>
                <a:lnTo>
                  <a:pt x="114300" y="914400"/>
                </a:lnTo>
                <a:moveTo>
                  <a:pt x="1600200" y="114300"/>
                </a:moveTo>
                <a:lnTo>
                  <a:pt x="1600200" y="57150"/>
                </a:lnTo>
                <a:cubicBezTo>
                  <a:pt x="1600200" y="25587"/>
                  <a:pt x="1574612" y="0"/>
                  <a:pt x="1543050" y="0"/>
                </a:cubicBezTo>
                <a:lnTo>
                  <a:pt x="1485900" y="0"/>
                </a:lnTo>
                <a:moveTo>
                  <a:pt x="1485900" y="914400"/>
                </a:moveTo>
                <a:lnTo>
                  <a:pt x="114300" y="914400"/>
                </a:lnTo>
                <a:moveTo>
                  <a:pt x="1600200" y="800100"/>
                </a:moveTo>
                <a:lnTo>
                  <a:pt x="1600200" y="857250"/>
                </a:lnTo>
                <a:cubicBezTo>
                  <a:pt x="1600200" y="888812"/>
                  <a:pt x="1574612" y="914400"/>
                  <a:pt x="1543050" y="914400"/>
                </a:cubicBezTo>
                <a:lnTo>
                  <a:pt x="1485900" y="914400"/>
                </a:lnTo>
              </a:path>
            </a:pathLst>
          </a:custGeom>
          <a:noFill/>
          <a:ln w="7143">
            <a:solidFill>
              <a:schemeClr val="accent1"/>
            </a:solidFill>
          </a:ln>
        </p:spPr>
        <p:txBody>
          <a:bodyPr rtlCol="0" anchor="ctr"/>
          <a:lstStyle/>
          <a:p>
            <a:pPr algn="ctr"/>
            <a:endParaRPr>
              <a:solidFill>
                <a:schemeClr val="bg2">
                  <a:lumMod val="25000"/>
                </a:schemeClr>
              </a:solidFill>
            </a:endParaRPr>
          </a:p>
        </p:txBody>
      </p:sp>
      <p:sp>
        <p:nvSpPr>
          <p:cNvPr id="98" name="Rounded Rectangle 23">
            <a:extLst>
              <a:ext uri="{FF2B5EF4-FFF2-40B4-BE49-F238E27FC236}">
                <a16:creationId xmlns:a16="http://schemas.microsoft.com/office/drawing/2014/main" id="{FB3E30BA-4600-FAEF-D077-DF886083FEEF}"/>
              </a:ext>
            </a:extLst>
          </p:cNvPr>
          <p:cNvSpPr/>
          <p:nvPr/>
        </p:nvSpPr>
        <p:spPr>
          <a:xfrm>
            <a:off x="9312508" y="4868141"/>
            <a:ext cx="1600200" cy="571500"/>
          </a:xfrm>
          <a:custGeom>
            <a:avLst/>
            <a:gdLst/>
            <a:ahLst/>
            <a:cxnLst/>
            <a:rect l="0" t="0" r="0" b="0"/>
            <a:pathLst>
              <a:path w="1600200" h="571500">
                <a:moveTo>
                  <a:pt x="1600200" y="514350"/>
                </a:moveTo>
                <a:cubicBezTo>
                  <a:pt x="1600200" y="545915"/>
                  <a:pt x="1574615" y="571500"/>
                  <a:pt x="1543050" y="571500"/>
                </a:cubicBezTo>
                <a:lnTo>
                  <a:pt x="1485900" y="571500"/>
                </a:lnTo>
                <a:lnTo>
                  <a:pt x="57150" y="571500"/>
                </a:lnTo>
                <a:cubicBezTo>
                  <a:pt x="25584" y="571500"/>
                  <a:pt x="0" y="545915"/>
                  <a:pt x="0" y="514350"/>
                </a:cubicBezTo>
                <a:lnTo>
                  <a:pt x="0" y="57150"/>
                </a:lnTo>
                <a:cubicBezTo>
                  <a:pt x="0" y="25584"/>
                  <a:pt x="25584" y="0"/>
                  <a:pt x="57150" y="0"/>
                </a:cubicBezTo>
                <a:lnTo>
                  <a:pt x="1543050" y="0"/>
                </a:lnTo>
                <a:cubicBezTo>
                  <a:pt x="1574615" y="0"/>
                  <a:pt x="1600200" y="25584"/>
                  <a:pt x="1600200" y="57150"/>
                </a:cubicBezTo>
                <a:lnTo>
                  <a:pt x="1600200" y="514350"/>
                </a:lnTo>
              </a:path>
            </a:pathLst>
          </a:custGeom>
          <a:noFill/>
          <a:ln>
            <a:solidFill>
              <a:schemeClr val="accent1"/>
            </a:solidFill>
          </a:ln>
        </p:spPr>
        <p:txBody>
          <a:bodyPr rtlCol="0" anchor="ctr"/>
          <a:lstStyle/>
          <a:p>
            <a:pPr algn="ctr"/>
            <a:endParaRPr>
              <a:solidFill>
                <a:schemeClr val="bg2">
                  <a:lumMod val="25000"/>
                </a:schemeClr>
              </a:solidFill>
            </a:endParaRPr>
          </a:p>
        </p:txBody>
      </p:sp>
      <p:sp>
        <p:nvSpPr>
          <p:cNvPr id="99" name="Rounded Rectangle 24">
            <a:extLst>
              <a:ext uri="{FF2B5EF4-FFF2-40B4-BE49-F238E27FC236}">
                <a16:creationId xmlns:a16="http://schemas.microsoft.com/office/drawing/2014/main" id="{6E70793B-9C6D-4F4E-7BC9-B3DF0F3156BF}"/>
              </a:ext>
            </a:extLst>
          </p:cNvPr>
          <p:cNvSpPr/>
          <p:nvPr/>
        </p:nvSpPr>
        <p:spPr>
          <a:xfrm>
            <a:off x="9312508" y="4868141"/>
            <a:ext cx="1600200" cy="571500"/>
          </a:xfrm>
          <a:custGeom>
            <a:avLst/>
            <a:gdLst/>
            <a:ahLst/>
            <a:cxnLst/>
            <a:rect l="0" t="0" r="0" b="0"/>
            <a:pathLst>
              <a:path w="1600200" h="571500">
                <a:moveTo>
                  <a:pt x="0" y="114300"/>
                </a:moveTo>
                <a:lnTo>
                  <a:pt x="0" y="57150"/>
                </a:lnTo>
                <a:cubicBezTo>
                  <a:pt x="0" y="25587"/>
                  <a:pt x="25587" y="0"/>
                  <a:pt x="57150" y="0"/>
                </a:cubicBezTo>
                <a:lnTo>
                  <a:pt x="114300" y="0"/>
                </a:lnTo>
                <a:moveTo>
                  <a:pt x="1600200" y="114300"/>
                </a:moveTo>
                <a:lnTo>
                  <a:pt x="1600200" y="457200"/>
                </a:lnTo>
                <a:moveTo>
                  <a:pt x="0" y="457200"/>
                </a:moveTo>
                <a:lnTo>
                  <a:pt x="0" y="114300"/>
                </a:lnTo>
                <a:moveTo>
                  <a:pt x="114300" y="0"/>
                </a:moveTo>
                <a:lnTo>
                  <a:pt x="1485900" y="0"/>
                </a:lnTo>
                <a:moveTo>
                  <a:pt x="0" y="457200"/>
                </a:moveTo>
                <a:lnTo>
                  <a:pt x="0" y="514350"/>
                </a:lnTo>
                <a:cubicBezTo>
                  <a:pt x="0" y="545912"/>
                  <a:pt x="25587" y="571500"/>
                  <a:pt x="57150" y="571500"/>
                </a:cubicBezTo>
                <a:lnTo>
                  <a:pt x="114300" y="571500"/>
                </a:lnTo>
                <a:moveTo>
                  <a:pt x="1600200" y="114300"/>
                </a:moveTo>
                <a:lnTo>
                  <a:pt x="1600200" y="57150"/>
                </a:lnTo>
                <a:cubicBezTo>
                  <a:pt x="1600200" y="25587"/>
                  <a:pt x="1574612" y="0"/>
                  <a:pt x="1543050" y="0"/>
                </a:cubicBezTo>
                <a:lnTo>
                  <a:pt x="1485900" y="0"/>
                </a:lnTo>
                <a:moveTo>
                  <a:pt x="1485900" y="571500"/>
                </a:moveTo>
                <a:lnTo>
                  <a:pt x="114300" y="571500"/>
                </a:lnTo>
                <a:moveTo>
                  <a:pt x="1600200" y="457200"/>
                </a:moveTo>
                <a:lnTo>
                  <a:pt x="1600200" y="514350"/>
                </a:lnTo>
                <a:cubicBezTo>
                  <a:pt x="1600200" y="545912"/>
                  <a:pt x="1574612" y="571500"/>
                  <a:pt x="1543050" y="571500"/>
                </a:cubicBezTo>
                <a:lnTo>
                  <a:pt x="1485900" y="571500"/>
                </a:lnTo>
              </a:path>
            </a:pathLst>
          </a:custGeom>
          <a:noFill/>
          <a:ln w="7143">
            <a:solidFill>
              <a:schemeClr val="accent1"/>
            </a:solidFill>
          </a:ln>
        </p:spPr>
        <p:txBody>
          <a:bodyPr rtlCol="0" anchor="ctr"/>
          <a:lstStyle/>
          <a:p>
            <a:pPr algn="ctr"/>
            <a:endParaRPr>
              <a:solidFill>
                <a:schemeClr val="bg2">
                  <a:lumMod val="25000"/>
                </a:schemeClr>
              </a:solidFill>
            </a:endParaRPr>
          </a:p>
        </p:txBody>
      </p:sp>
      <p:sp>
        <p:nvSpPr>
          <p:cNvPr id="100" name="TextBox 99">
            <a:extLst>
              <a:ext uri="{FF2B5EF4-FFF2-40B4-BE49-F238E27FC236}">
                <a16:creationId xmlns:a16="http://schemas.microsoft.com/office/drawing/2014/main" id="{5E97CE84-E46B-F900-1652-5168122F481C}"/>
              </a:ext>
            </a:extLst>
          </p:cNvPr>
          <p:cNvSpPr txBox="1"/>
          <p:nvPr/>
        </p:nvSpPr>
        <p:spPr>
          <a:xfrm>
            <a:off x="9567586" y="3282228"/>
            <a:ext cx="1090043" cy="338554"/>
          </a:xfrm>
          <a:prstGeom prst="rect">
            <a:avLst/>
          </a:prstGeom>
          <a:noFill/>
          <a:ln>
            <a:noFill/>
          </a:ln>
        </p:spPr>
        <p:txBody>
          <a:bodyPr wrap="none" lIns="0" tIns="0" rIns="0" bIns="0" anchor="t">
            <a:spAutoFit/>
          </a:bodyPr>
          <a:lstStyle/>
          <a:p>
            <a:pPr algn="ctr"/>
            <a:r>
              <a:rPr sz="1100" b="0">
                <a:solidFill>
                  <a:schemeClr val="bg2">
                    <a:lumMod val="25000"/>
                  </a:schemeClr>
                </a:solidFill>
              </a:rPr>
              <a:t>Customer-facing
tags</a:t>
            </a:r>
          </a:p>
        </p:txBody>
      </p:sp>
      <p:sp>
        <p:nvSpPr>
          <p:cNvPr id="101" name="TextBox 100">
            <a:extLst>
              <a:ext uri="{FF2B5EF4-FFF2-40B4-BE49-F238E27FC236}">
                <a16:creationId xmlns:a16="http://schemas.microsoft.com/office/drawing/2014/main" id="{263FDDF0-D5AD-E24E-D822-039A65FD6AB6}"/>
              </a:ext>
            </a:extLst>
          </p:cNvPr>
          <p:cNvSpPr txBox="1"/>
          <p:nvPr/>
        </p:nvSpPr>
        <p:spPr>
          <a:xfrm>
            <a:off x="7723258" y="3367953"/>
            <a:ext cx="1349728" cy="169277"/>
          </a:xfrm>
          <a:prstGeom prst="rect">
            <a:avLst/>
          </a:prstGeom>
          <a:noFill/>
          <a:ln>
            <a:noFill/>
          </a:ln>
        </p:spPr>
        <p:txBody>
          <a:bodyPr wrap="none" lIns="0" tIns="0" rIns="0" bIns="0" anchor="t">
            <a:spAutoFit/>
          </a:bodyPr>
          <a:lstStyle/>
          <a:p>
            <a:pPr algn="ctr"/>
            <a:r>
              <a:rPr sz="1100" b="0">
                <a:solidFill>
                  <a:schemeClr val="bg2">
                    <a:lumMod val="25000"/>
                  </a:schemeClr>
                </a:solidFill>
              </a:rPr>
              <a:t>Promise to customer</a:t>
            </a:r>
          </a:p>
        </p:txBody>
      </p:sp>
      <p:sp>
        <p:nvSpPr>
          <p:cNvPr id="102" name="TextBox 101">
            <a:extLst>
              <a:ext uri="{FF2B5EF4-FFF2-40B4-BE49-F238E27FC236}">
                <a16:creationId xmlns:a16="http://schemas.microsoft.com/office/drawing/2014/main" id="{548D49E9-FFDB-8F63-4C92-381AF4CA75D3}"/>
              </a:ext>
            </a:extLst>
          </p:cNvPr>
          <p:cNvSpPr txBox="1"/>
          <p:nvPr/>
        </p:nvSpPr>
        <p:spPr>
          <a:xfrm>
            <a:off x="6131158" y="3344141"/>
            <a:ext cx="771045" cy="230832"/>
          </a:xfrm>
          <a:prstGeom prst="rect">
            <a:avLst/>
          </a:prstGeom>
          <a:noFill/>
          <a:ln>
            <a:noFill/>
          </a:ln>
        </p:spPr>
        <p:txBody>
          <a:bodyPr wrap="none" lIns="0" tIns="0" rIns="0" bIns="0" anchor="t">
            <a:spAutoFit/>
          </a:bodyPr>
          <a:lstStyle/>
          <a:p>
            <a:pPr algn="l"/>
            <a:r>
              <a:rPr sz="1500" b="1">
                <a:solidFill>
                  <a:srgbClr val="FFFFFF"/>
                </a:solidFill>
              </a:rPr>
              <a:t>Purpose</a:t>
            </a:r>
          </a:p>
        </p:txBody>
      </p:sp>
      <p:sp>
        <p:nvSpPr>
          <p:cNvPr id="103" name="TextBox 102">
            <a:extLst>
              <a:ext uri="{FF2B5EF4-FFF2-40B4-BE49-F238E27FC236}">
                <a16:creationId xmlns:a16="http://schemas.microsoft.com/office/drawing/2014/main" id="{19BA0D57-B0FE-6252-7F2A-ADEBB5FC1188}"/>
              </a:ext>
            </a:extLst>
          </p:cNvPr>
          <p:cNvSpPr txBox="1"/>
          <p:nvPr/>
        </p:nvSpPr>
        <p:spPr>
          <a:xfrm>
            <a:off x="9632541" y="2429741"/>
            <a:ext cx="960199" cy="461665"/>
          </a:xfrm>
          <a:prstGeom prst="rect">
            <a:avLst/>
          </a:prstGeom>
          <a:noFill/>
          <a:ln>
            <a:noFill/>
          </a:ln>
        </p:spPr>
        <p:txBody>
          <a:bodyPr wrap="none" lIns="0" tIns="0" rIns="0" bIns="0" anchor="t">
            <a:spAutoFit/>
          </a:bodyPr>
          <a:lstStyle/>
          <a:p>
            <a:pPr algn="ctr"/>
            <a:r>
              <a:rPr sz="1500" b="1">
                <a:solidFill>
                  <a:srgbClr val="FFFFFF"/>
                </a:solidFill>
              </a:rPr>
              <a:t>Product
Taxonomy</a:t>
            </a:r>
          </a:p>
        </p:txBody>
      </p:sp>
      <p:sp>
        <p:nvSpPr>
          <p:cNvPr id="104" name="TextBox 103">
            <a:extLst>
              <a:ext uri="{FF2B5EF4-FFF2-40B4-BE49-F238E27FC236}">
                <a16:creationId xmlns:a16="http://schemas.microsoft.com/office/drawing/2014/main" id="{71D602DC-D496-089D-4F40-F3C44773DC4E}"/>
              </a:ext>
            </a:extLst>
          </p:cNvPr>
          <p:cNvSpPr txBox="1"/>
          <p:nvPr/>
        </p:nvSpPr>
        <p:spPr>
          <a:xfrm>
            <a:off x="6131158" y="4201391"/>
            <a:ext cx="782265" cy="230832"/>
          </a:xfrm>
          <a:prstGeom prst="rect">
            <a:avLst/>
          </a:prstGeom>
          <a:noFill/>
          <a:ln>
            <a:noFill/>
          </a:ln>
        </p:spPr>
        <p:txBody>
          <a:bodyPr wrap="none" lIns="0" tIns="0" rIns="0" bIns="0" anchor="t">
            <a:spAutoFit/>
          </a:bodyPr>
          <a:lstStyle/>
          <a:p>
            <a:pPr algn="l"/>
            <a:r>
              <a:rPr sz="1500" b="1">
                <a:solidFill>
                  <a:srgbClr val="FFFFFF"/>
                </a:solidFill>
              </a:rPr>
              <a:t>Example</a:t>
            </a:r>
          </a:p>
        </p:txBody>
      </p:sp>
      <p:sp>
        <p:nvSpPr>
          <p:cNvPr id="105" name="TextBox 104">
            <a:extLst>
              <a:ext uri="{FF2B5EF4-FFF2-40B4-BE49-F238E27FC236}">
                <a16:creationId xmlns:a16="http://schemas.microsoft.com/office/drawing/2014/main" id="{220586B6-D450-371E-20C5-A2EEB7C8CA48}"/>
              </a:ext>
            </a:extLst>
          </p:cNvPr>
          <p:cNvSpPr txBox="1"/>
          <p:nvPr/>
        </p:nvSpPr>
        <p:spPr>
          <a:xfrm>
            <a:off x="7750461" y="4225203"/>
            <a:ext cx="1295226" cy="169277"/>
          </a:xfrm>
          <a:prstGeom prst="rect">
            <a:avLst/>
          </a:prstGeom>
          <a:noFill/>
          <a:ln>
            <a:noFill/>
          </a:ln>
        </p:spPr>
        <p:txBody>
          <a:bodyPr wrap="none" lIns="0" tIns="0" rIns="0" bIns="0" anchor="t">
            <a:spAutoFit/>
          </a:bodyPr>
          <a:lstStyle/>
          <a:p>
            <a:pPr algn="ctr"/>
            <a:r>
              <a:rPr sz="1100" b="0">
                <a:solidFill>
                  <a:schemeClr val="bg2">
                    <a:lumMod val="25000"/>
                  </a:schemeClr>
                </a:solidFill>
              </a:rPr>
              <a:t>Meal → Type: Vegan</a:t>
            </a:r>
          </a:p>
        </p:txBody>
      </p:sp>
      <p:sp>
        <p:nvSpPr>
          <p:cNvPr id="106" name="TextBox 105">
            <a:extLst>
              <a:ext uri="{FF2B5EF4-FFF2-40B4-BE49-F238E27FC236}">
                <a16:creationId xmlns:a16="http://schemas.microsoft.com/office/drawing/2014/main" id="{76C05EA5-DC26-90F6-E9C5-C6B5A7241211}"/>
              </a:ext>
            </a:extLst>
          </p:cNvPr>
          <p:cNvSpPr txBox="1"/>
          <p:nvPr/>
        </p:nvSpPr>
        <p:spPr>
          <a:xfrm>
            <a:off x="9513103" y="3968028"/>
            <a:ext cx="1199047" cy="646331"/>
          </a:xfrm>
          <a:prstGeom prst="rect">
            <a:avLst/>
          </a:prstGeom>
          <a:noFill/>
          <a:ln>
            <a:noFill/>
          </a:ln>
        </p:spPr>
        <p:txBody>
          <a:bodyPr wrap="none" lIns="0" tIns="0" rIns="0" bIns="0" anchor="t">
            <a:spAutoFit/>
          </a:bodyPr>
          <a:lstStyle/>
          <a:p>
            <a:pPr algn="ctr"/>
            <a:r>
              <a:rPr sz="1100" b="0" dirty="0">
                <a:solidFill>
                  <a:schemeClr val="bg2">
                    <a:lumMod val="25000"/>
                  </a:schemeClr>
                </a:solidFill>
              </a:rPr>
              <a:t>[</a:t>
            </a:r>
            <a:r>
              <a:rPr sz="1100" b="0" dirty="0" err="1">
                <a:solidFill>
                  <a:schemeClr val="bg2">
                    <a:lumMod val="25000"/>
                  </a:schemeClr>
                </a:solidFill>
              </a:rPr>
              <a:t>HealthyChoice</a:t>
            </a:r>
            <a:r>
              <a:rPr sz="1100" b="0" dirty="0">
                <a:solidFill>
                  <a:schemeClr val="bg2">
                    <a:lumMod val="25000"/>
                  </a:schemeClr>
                </a:solidFill>
              </a:rPr>
              <a:t>],
[</a:t>
            </a:r>
            <a:r>
              <a:rPr sz="1100" b="0" dirty="0" err="1">
                <a:solidFill>
                  <a:schemeClr val="bg2">
                    <a:lumMod val="25000"/>
                  </a:schemeClr>
                </a:solidFill>
              </a:rPr>
              <a:t>PlantBased</a:t>
            </a:r>
            <a:r>
              <a:rPr sz="1100" b="0" dirty="0">
                <a:solidFill>
                  <a:schemeClr val="bg2">
                    <a:lumMod val="25000"/>
                  </a:schemeClr>
                </a:solidFill>
              </a:rPr>
              <a:t>] </a:t>
            </a:r>
            <a:endParaRPr lang="de-CH" sz="1100" b="0" dirty="0">
              <a:solidFill>
                <a:schemeClr val="bg2">
                  <a:lumMod val="25000"/>
                </a:schemeClr>
              </a:solidFill>
            </a:endParaRPr>
          </a:p>
          <a:p>
            <a:pPr algn="ctr"/>
            <a:r>
              <a:rPr sz="1000" b="0" i="1" dirty="0">
                <a:solidFill>
                  <a:schemeClr val="bg2">
                    <a:lumMod val="25000"/>
                  </a:schemeClr>
                </a:solidFill>
              </a:rPr>
              <a:t>[Tags</a:t>
            </a:r>
            <a:r>
              <a:rPr lang="de-CH" sz="1000" b="0" i="1" dirty="0">
                <a:solidFill>
                  <a:schemeClr val="bg2">
                    <a:lumMod val="25000"/>
                  </a:schemeClr>
                </a:solidFill>
              </a:rPr>
              <a:t> </a:t>
            </a:r>
            <a:r>
              <a:rPr sz="1000" b="0" i="1" dirty="0">
                <a:solidFill>
                  <a:schemeClr val="bg2">
                    <a:lumMod val="25000"/>
                  </a:schemeClr>
                </a:solidFill>
              </a:rPr>
              <a:t>categorize the
product effectively]</a:t>
            </a:r>
          </a:p>
        </p:txBody>
      </p:sp>
      <p:sp>
        <p:nvSpPr>
          <p:cNvPr id="107" name="TextBox 106">
            <a:extLst>
              <a:ext uri="{FF2B5EF4-FFF2-40B4-BE49-F238E27FC236}">
                <a16:creationId xmlns:a16="http://schemas.microsoft.com/office/drawing/2014/main" id="{D2764697-81EC-4EF9-0E15-E39B48E2979E}"/>
              </a:ext>
            </a:extLst>
          </p:cNvPr>
          <p:cNvSpPr txBox="1"/>
          <p:nvPr/>
        </p:nvSpPr>
        <p:spPr>
          <a:xfrm>
            <a:off x="9516141" y="4996728"/>
            <a:ext cx="1307804" cy="1354217"/>
          </a:xfrm>
          <a:prstGeom prst="rect">
            <a:avLst/>
          </a:prstGeom>
          <a:noFill/>
          <a:ln>
            <a:noFill/>
          </a:ln>
        </p:spPr>
        <p:txBody>
          <a:bodyPr wrap="square" lIns="0" tIns="0" rIns="0" bIns="0" anchor="t">
            <a:spAutoFit/>
          </a:bodyPr>
          <a:lstStyle/>
          <a:p>
            <a:pPr algn="ctr"/>
            <a:r>
              <a:rPr lang="fr-FR" sz="1100" dirty="0"/>
              <a:t>A </a:t>
            </a:r>
            <a:r>
              <a:rPr lang="fr-FR" sz="1100" dirty="0" err="1"/>
              <a:t>product</a:t>
            </a:r>
            <a:r>
              <a:rPr lang="fr-FR" sz="1100" dirty="0"/>
              <a:t> </a:t>
            </a:r>
            <a:r>
              <a:rPr lang="fr-FR" sz="1100" dirty="0" err="1"/>
              <a:t>taxonomy</a:t>
            </a:r>
            <a:r>
              <a:rPr lang="fr-FR" sz="1100" dirty="0"/>
              <a:t> </a:t>
            </a:r>
            <a:r>
              <a:rPr lang="fr-FR" sz="1100" dirty="0" err="1"/>
              <a:t>makes</a:t>
            </a:r>
            <a:r>
              <a:rPr lang="fr-FR" sz="1100" dirty="0"/>
              <a:t> </a:t>
            </a:r>
            <a:r>
              <a:rPr lang="fr-FR" sz="1100" dirty="0" err="1"/>
              <a:t>products</a:t>
            </a:r>
            <a:r>
              <a:rPr lang="fr-FR" sz="1100" dirty="0"/>
              <a:t> </a:t>
            </a:r>
            <a:r>
              <a:rPr lang="fr-FR" sz="1100" dirty="0" err="1"/>
              <a:t>easier</a:t>
            </a:r>
            <a:r>
              <a:rPr lang="fr-FR" sz="1100" dirty="0"/>
              <a:t> to </a:t>
            </a:r>
            <a:r>
              <a:rPr lang="fr-FR" sz="1100" b="1" dirty="0" err="1"/>
              <a:t>find</a:t>
            </a:r>
            <a:r>
              <a:rPr lang="fr-FR" sz="1100" b="1" dirty="0"/>
              <a:t>, compare, and manage </a:t>
            </a:r>
            <a:r>
              <a:rPr lang="fr-FR" sz="1100" b="1" dirty="0" err="1"/>
              <a:t>consistently</a:t>
            </a:r>
            <a:r>
              <a:rPr lang="fr-FR" sz="1100" b="1" dirty="0"/>
              <a:t> </a:t>
            </a:r>
            <a:r>
              <a:rPr lang="fr-FR" sz="1100" b="1" dirty="0" err="1"/>
              <a:t>across</a:t>
            </a:r>
            <a:r>
              <a:rPr lang="fr-FR" sz="1100" b="1" dirty="0"/>
              <a:t> channels and </a:t>
            </a:r>
            <a:r>
              <a:rPr lang="fr-FR" sz="1100" b="1" dirty="0" err="1"/>
              <a:t>partners</a:t>
            </a:r>
            <a:r>
              <a:rPr lang="fr-FR" sz="1100" b="1" dirty="0"/>
              <a:t>.</a:t>
            </a:r>
            <a:endParaRPr sz="1100" b="0" dirty="0">
              <a:solidFill>
                <a:schemeClr val="bg2">
                  <a:lumMod val="25000"/>
                </a:schemeClr>
              </a:solidFill>
            </a:endParaRPr>
          </a:p>
        </p:txBody>
      </p:sp>
      <p:sp>
        <p:nvSpPr>
          <p:cNvPr id="108" name="TextBox 107">
            <a:extLst>
              <a:ext uri="{FF2B5EF4-FFF2-40B4-BE49-F238E27FC236}">
                <a16:creationId xmlns:a16="http://schemas.microsoft.com/office/drawing/2014/main" id="{71B2598E-0DAF-7BB0-6488-AD330B78E1EC}"/>
              </a:ext>
            </a:extLst>
          </p:cNvPr>
          <p:cNvSpPr txBox="1"/>
          <p:nvPr/>
        </p:nvSpPr>
        <p:spPr>
          <a:xfrm>
            <a:off x="6086747" y="2544041"/>
            <a:ext cx="1308050" cy="230832"/>
          </a:xfrm>
          <a:prstGeom prst="rect">
            <a:avLst/>
          </a:prstGeom>
          <a:noFill/>
          <a:ln>
            <a:noFill/>
          </a:ln>
        </p:spPr>
        <p:txBody>
          <a:bodyPr wrap="none" lIns="0" tIns="0" rIns="0" bIns="0" anchor="t">
            <a:spAutoFit/>
          </a:bodyPr>
          <a:lstStyle/>
          <a:p>
            <a:pPr algn="ctr"/>
            <a:r>
              <a:rPr sz="1500" b="1" dirty="0">
                <a:solidFill>
                  <a:srgbClr val="FFFFFF"/>
                </a:solidFill>
              </a:rPr>
              <a:t>Characteristic</a:t>
            </a:r>
          </a:p>
        </p:txBody>
      </p:sp>
      <p:sp>
        <p:nvSpPr>
          <p:cNvPr id="109" name="TextBox 108">
            <a:extLst>
              <a:ext uri="{FF2B5EF4-FFF2-40B4-BE49-F238E27FC236}">
                <a16:creationId xmlns:a16="http://schemas.microsoft.com/office/drawing/2014/main" id="{BD33C869-04E7-8E0B-2D87-7542B4DA8375}"/>
              </a:ext>
            </a:extLst>
          </p:cNvPr>
          <p:cNvSpPr txBox="1"/>
          <p:nvPr/>
        </p:nvSpPr>
        <p:spPr>
          <a:xfrm>
            <a:off x="6131158" y="5058641"/>
            <a:ext cx="662041" cy="230832"/>
          </a:xfrm>
          <a:prstGeom prst="rect">
            <a:avLst/>
          </a:prstGeom>
          <a:noFill/>
          <a:ln>
            <a:noFill/>
          </a:ln>
        </p:spPr>
        <p:txBody>
          <a:bodyPr wrap="none" lIns="0" tIns="0" rIns="0" bIns="0" anchor="t">
            <a:spAutoFit/>
          </a:bodyPr>
          <a:lstStyle/>
          <a:p>
            <a:pPr algn="l"/>
            <a:r>
              <a:rPr sz="1500" b="1">
                <a:solidFill>
                  <a:srgbClr val="FFFFFF"/>
                </a:solidFill>
              </a:rPr>
              <a:t>Benefit</a:t>
            </a:r>
          </a:p>
        </p:txBody>
      </p:sp>
      <p:sp>
        <p:nvSpPr>
          <p:cNvPr id="110" name="TextBox 109">
            <a:extLst>
              <a:ext uri="{FF2B5EF4-FFF2-40B4-BE49-F238E27FC236}">
                <a16:creationId xmlns:a16="http://schemas.microsoft.com/office/drawing/2014/main" id="{AC6901AA-69CF-692D-286C-E5EFE18B0885}"/>
              </a:ext>
            </a:extLst>
          </p:cNvPr>
          <p:cNvSpPr txBox="1"/>
          <p:nvPr/>
        </p:nvSpPr>
        <p:spPr>
          <a:xfrm>
            <a:off x="7893204" y="5082453"/>
            <a:ext cx="1009892" cy="169277"/>
          </a:xfrm>
          <a:prstGeom prst="rect">
            <a:avLst/>
          </a:prstGeom>
          <a:noFill/>
          <a:ln>
            <a:noFill/>
          </a:ln>
        </p:spPr>
        <p:txBody>
          <a:bodyPr wrap="none" lIns="0" tIns="0" rIns="0" bIns="0" anchor="t">
            <a:spAutoFit/>
          </a:bodyPr>
          <a:lstStyle/>
          <a:p>
            <a:pPr algn="ctr"/>
            <a:r>
              <a:rPr sz="1100" b="0" dirty="0" err="1">
                <a:solidFill>
                  <a:schemeClr val="bg2">
                    <a:lumMod val="25000"/>
                  </a:schemeClr>
                </a:solidFill>
              </a:rPr>
              <a:t>Standardi</a:t>
            </a:r>
            <a:r>
              <a:rPr lang="de-CH" sz="1100" b="0" dirty="0">
                <a:solidFill>
                  <a:schemeClr val="bg2">
                    <a:lumMod val="25000"/>
                  </a:schemeClr>
                </a:solidFill>
              </a:rPr>
              <a:t>z</a:t>
            </a:r>
            <a:r>
              <a:rPr sz="1100" b="0" dirty="0" err="1">
                <a:solidFill>
                  <a:schemeClr val="bg2">
                    <a:lumMod val="25000"/>
                  </a:schemeClr>
                </a:solidFill>
              </a:rPr>
              <a:t>ation</a:t>
            </a:r>
            <a:endParaRPr sz="1100" b="0" dirty="0">
              <a:solidFill>
                <a:schemeClr val="bg2">
                  <a:lumMod val="25000"/>
                </a:schemeClr>
              </a:solidFill>
            </a:endParaRPr>
          </a:p>
        </p:txBody>
      </p:sp>
      <p:sp>
        <p:nvSpPr>
          <p:cNvPr id="111" name="TextBox 110">
            <a:extLst>
              <a:ext uri="{FF2B5EF4-FFF2-40B4-BE49-F238E27FC236}">
                <a16:creationId xmlns:a16="http://schemas.microsoft.com/office/drawing/2014/main" id="{96135BA4-CFA3-E10E-73CB-F53FA4F86EFE}"/>
              </a:ext>
            </a:extLst>
          </p:cNvPr>
          <p:cNvSpPr txBox="1"/>
          <p:nvPr/>
        </p:nvSpPr>
        <p:spPr>
          <a:xfrm>
            <a:off x="7948479" y="2429741"/>
            <a:ext cx="899285" cy="461665"/>
          </a:xfrm>
          <a:prstGeom prst="rect">
            <a:avLst/>
          </a:prstGeom>
          <a:noFill/>
          <a:ln>
            <a:noFill/>
          </a:ln>
        </p:spPr>
        <p:txBody>
          <a:bodyPr wrap="none" lIns="0" tIns="0" rIns="0" bIns="0" anchor="t">
            <a:spAutoFit/>
          </a:bodyPr>
          <a:lstStyle/>
          <a:p>
            <a:pPr algn="ctr"/>
            <a:r>
              <a:rPr sz="1500" b="1" dirty="0">
                <a:solidFill>
                  <a:srgbClr val="FFFFFF"/>
                </a:solidFill>
              </a:rPr>
              <a:t>Product
Definition</a:t>
            </a:r>
          </a:p>
        </p:txBody>
      </p:sp>
      <p:sp>
        <p:nvSpPr>
          <p:cNvPr id="112" name="Rounded Rectangle 9">
            <a:extLst>
              <a:ext uri="{FF2B5EF4-FFF2-40B4-BE49-F238E27FC236}">
                <a16:creationId xmlns:a16="http://schemas.microsoft.com/office/drawing/2014/main" id="{046AF7C2-74A9-016C-E7DD-292AFD901418}"/>
              </a:ext>
            </a:extLst>
          </p:cNvPr>
          <p:cNvSpPr/>
          <p:nvPr/>
        </p:nvSpPr>
        <p:spPr>
          <a:xfrm>
            <a:off x="5576168" y="1811482"/>
            <a:ext cx="5874152" cy="3978352"/>
          </a:xfrm>
          <a:custGeom>
            <a:avLst/>
            <a:gdLst/>
            <a:ahLst/>
            <a:cxnLst/>
            <a:rect l="0" t="0" r="0" b="0"/>
            <a:pathLst>
              <a:path w="1600200" h="800100">
                <a:moveTo>
                  <a:pt x="1600200" y="742950"/>
                </a:moveTo>
                <a:cubicBezTo>
                  <a:pt x="1600200" y="774515"/>
                  <a:pt x="1574615" y="800100"/>
                  <a:pt x="1543050" y="800100"/>
                </a:cubicBezTo>
                <a:lnTo>
                  <a:pt x="1485900" y="800100"/>
                </a:lnTo>
                <a:lnTo>
                  <a:pt x="57150" y="800100"/>
                </a:lnTo>
                <a:cubicBezTo>
                  <a:pt x="25584" y="800100"/>
                  <a:pt x="0" y="774515"/>
                  <a:pt x="0" y="742950"/>
                </a:cubicBezTo>
                <a:lnTo>
                  <a:pt x="0" y="57150"/>
                </a:lnTo>
                <a:cubicBezTo>
                  <a:pt x="0" y="25584"/>
                  <a:pt x="25584" y="0"/>
                  <a:pt x="57150" y="0"/>
                </a:cubicBezTo>
                <a:lnTo>
                  <a:pt x="1543050" y="0"/>
                </a:lnTo>
                <a:cubicBezTo>
                  <a:pt x="1574615" y="0"/>
                  <a:pt x="1600200" y="25584"/>
                  <a:pt x="1600200" y="57150"/>
                </a:cubicBezTo>
                <a:lnTo>
                  <a:pt x="1600200" y="742950"/>
                </a:lnTo>
              </a:path>
            </a:pathLst>
          </a:custGeom>
          <a:noFill/>
          <a:ln>
            <a:solidFill>
              <a:schemeClr val="accent1"/>
            </a:solidFill>
          </a:ln>
        </p:spPr>
        <p:txBody>
          <a:bodyPr rtlCol="0" anchor="ctr"/>
          <a:lstStyle/>
          <a:p>
            <a:pPr algn="ctr"/>
            <a:endParaRPr dirty="0"/>
          </a:p>
        </p:txBody>
      </p:sp>
    </p:spTree>
    <p:extLst>
      <p:ext uri="{BB962C8B-B14F-4D97-AF65-F5344CB8AC3E}">
        <p14:creationId xmlns:p14="http://schemas.microsoft.com/office/powerpoint/2010/main" val="4193334393"/>
      </p:ext>
    </p:extLst>
  </p:cSld>
  <p:clrMapOvr>
    <a:masterClrMapping/>
  </p:clrMapOvr>
  <p:transition>
    <p:fade/>
  </p:transition>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EA17B-09F5-920B-8661-F12C87A7B153}"/>
            </a:ext>
          </a:extLst>
        </p:cNvPr>
        <p:cNvGrpSpPr/>
        <p:nvPr/>
      </p:nvGrpSpPr>
      <p:grpSpPr>
        <a:xfrm>
          <a:off x="0" y="0"/>
          <a:ext cx="0" cy="0"/>
          <a:chOff x="0" y="0"/>
          <a:chExt cx="0" cy="0"/>
        </a:xfrm>
      </p:grpSpPr>
      <p:grpSp>
        <p:nvGrpSpPr>
          <p:cNvPr id="34" name="Group 33">
            <a:extLst>
              <a:ext uri="{FF2B5EF4-FFF2-40B4-BE49-F238E27FC236}">
                <a16:creationId xmlns:a16="http://schemas.microsoft.com/office/drawing/2014/main" id="{E5082153-A238-BF4B-A467-5904D52425D2}"/>
              </a:ext>
            </a:extLst>
          </p:cNvPr>
          <p:cNvGrpSpPr/>
          <p:nvPr/>
        </p:nvGrpSpPr>
        <p:grpSpPr>
          <a:xfrm>
            <a:off x="3978792" y="2113019"/>
            <a:ext cx="7128101" cy="944052"/>
            <a:chOff x="3958732" y="1868323"/>
            <a:chExt cx="7128101" cy="944052"/>
          </a:xfrm>
        </p:grpSpPr>
        <p:grpSp>
          <p:nvGrpSpPr>
            <p:cNvPr id="3" name="Group 2">
              <a:extLst>
                <a:ext uri="{FF2B5EF4-FFF2-40B4-BE49-F238E27FC236}">
                  <a16:creationId xmlns:a16="http://schemas.microsoft.com/office/drawing/2014/main" id="{0EF54FF4-F07D-B8DA-DA4E-BDE3332C9093}"/>
                </a:ext>
              </a:extLst>
            </p:cNvPr>
            <p:cNvGrpSpPr/>
            <p:nvPr/>
          </p:nvGrpSpPr>
          <p:grpSpPr>
            <a:xfrm>
              <a:off x="3958732" y="1950879"/>
              <a:ext cx="4234417" cy="778941"/>
              <a:chOff x="3917245" y="1485276"/>
              <a:chExt cx="4234417" cy="778941"/>
            </a:xfrm>
          </p:grpSpPr>
          <p:cxnSp>
            <p:nvCxnSpPr>
              <p:cNvPr id="4" name="Straight Arrow Connector 3">
                <a:extLst>
                  <a:ext uri="{FF2B5EF4-FFF2-40B4-BE49-F238E27FC236}">
                    <a16:creationId xmlns:a16="http://schemas.microsoft.com/office/drawing/2014/main" id="{6273C2F8-EDB2-60A3-7B15-BC879C2A78A2}"/>
                  </a:ext>
                </a:extLst>
              </p:cNvPr>
              <p:cNvCxnSpPr>
                <a:cxnSpLocks/>
              </p:cNvCxnSpPr>
              <p:nvPr/>
            </p:nvCxnSpPr>
            <p:spPr>
              <a:xfrm>
                <a:off x="3917245" y="1874746"/>
                <a:ext cx="4234417"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Scroll: Vertical 13">
                <a:extLst>
                  <a:ext uri="{FF2B5EF4-FFF2-40B4-BE49-F238E27FC236}">
                    <a16:creationId xmlns:a16="http://schemas.microsoft.com/office/drawing/2014/main" id="{9139602F-DC94-7E68-2530-37A884C6CF57}"/>
                  </a:ext>
                </a:extLst>
              </p:cNvPr>
              <p:cNvSpPr/>
              <p:nvPr/>
            </p:nvSpPr>
            <p:spPr>
              <a:xfrm>
                <a:off x="5095475" y="1485276"/>
                <a:ext cx="2062030" cy="778941"/>
              </a:xfrm>
              <a:prstGeom prst="verticalScroll">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a:spcBef>
                    <a:spcPts val="800"/>
                  </a:spcBef>
                  <a:buSzPct val="90000"/>
                </a:pPr>
                <a:r>
                  <a:rPr lang="en-GB" sz="933" b="1" dirty="0">
                    <a:solidFill>
                      <a:schemeClr val="tx1"/>
                    </a:solidFill>
                  </a:rPr>
                  <a:t>Supplier catalogue between A&amp;B</a:t>
                </a:r>
              </a:p>
              <a:p>
                <a:pPr marL="228594" indent="-228594">
                  <a:spcBef>
                    <a:spcPts val="800"/>
                  </a:spcBef>
                  <a:buSzPct val="90000"/>
                  <a:buFont typeface="Wingdings" panose="05000000000000000000" pitchFamily="2" charset="2"/>
                  <a:buChar char="§"/>
                </a:pPr>
                <a:r>
                  <a:rPr lang="en-GB" sz="933" b="1" dirty="0">
                    <a:solidFill>
                      <a:schemeClr val="tx1"/>
                    </a:solidFill>
                  </a:rPr>
                  <a:t>Transport</a:t>
                </a:r>
                <a:r>
                  <a:rPr lang="en-GB" sz="933" dirty="0">
                    <a:solidFill>
                      <a:schemeClr val="tx1"/>
                    </a:solidFill>
                  </a:rPr>
                  <a:t> : Leg1/Leg2</a:t>
                </a:r>
              </a:p>
              <a:p>
                <a:pPr marL="228594" indent="-228594">
                  <a:spcBef>
                    <a:spcPts val="800"/>
                  </a:spcBef>
                  <a:buSzPct val="90000"/>
                  <a:buFont typeface="Wingdings" panose="05000000000000000000" pitchFamily="2" charset="2"/>
                  <a:buChar char="§"/>
                </a:pPr>
                <a:endParaRPr lang="en-GB" sz="1600" dirty="0">
                  <a:solidFill>
                    <a:schemeClr val="tx1"/>
                  </a:solidFill>
                </a:endParaRPr>
              </a:p>
            </p:txBody>
          </p:sp>
        </p:grpSp>
        <p:grpSp>
          <p:nvGrpSpPr>
            <p:cNvPr id="31" name="Group 30">
              <a:extLst>
                <a:ext uri="{FF2B5EF4-FFF2-40B4-BE49-F238E27FC236}">
                  <a16:creationId xmlns:a16="http://schemas.microsoft.com/office/drawing/2014/main" id="{B0DBFA01-D7DF-F152-56F8-174F8CAFEB7B}"/>
                </a:ext>
              </a:extLst>
            </p:cNvPr>
            <p:cNvGrpSpPr/>
            <p:nvPr/>
          </p:nvGrpSpPr>
          <p:grpSpPr>
            <a:xfrm>
              <a:off x="8177980" y="1868323"/>
              <a:ext cx="2908853" cy="944052"/>
              <a:chOff x="8136493" y="1690082"/>
              <a:chExt cx="2908853" cy="944052"/>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id="{34B28ED5-D81B-D99B-5534-A4EB77792F87}"/>
                  </a:ext>
                </a:extLst>
              </p:cNvPr>
              <p:cNvSpPr/>
              <p:nvPr/>
            </p:nvSpPr>
            <p:spPr>
              <a:xfrm>
                <a:off x="8136493" y="1690082"/>
                <a:ext cx="2908853" cy="9440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marL="228594" indent="-228594">
                  <a:spcBef>
                    <a:spcPts val="800"/>
                  </a:spcBef>
                  <a:buSzPct val="90000"/>
                  <a:buFont typeface="Wingdings" panose="05000000000000000000" pitchFamily="2" charset="2"/>
                  <a:buChar char="§"/>
                </a:pPr>
                <a:endParaRPr lang="en-GB" sz="1600" err="1">
                  <a:solidFill>
                    <a:schemeClr val="tx1"/>
                  </a:solidFill>
                </a:endParaRPr>
              </a:p>
            </p:txBody>
          </p:sp>
          <p:sp>
            <p:nvSpPr>
              <p:cNvPr id="20" name="TextBox 19">
                <a:extLst>
                  <a:ext uri="{FF2B5EF4-FFF2-40B4-BE49-F238E27FC236}">
                    <a16:creationId xmlns:a16="http://schemas.microsoft.com/office/drawing/2014/main" id="{1D8B5509-163F-2AA9-1E6C-DC76F809895E}"/>
                  </a:ext>
                </a:extLst>
              </p:cNvPr>
              <p:cNvSpPr txBox="1"/>
              <p:nvPr/>
            </p:nvSpPr>
            <p:spPr>
              <a:xfrm>
                <a:off x="9277572" y="1733991"/>
                <a:ext cx="626695" cy="184666"/>
              </a:xfrm>
              <a:prstGeom prst="rect">
                <a:avLst/>
              </a:prstGeom>
              <a:noFill/>
            </p:spPr>
            <p:txBody>
              <a:bodyPr wrap="square" lIns="0" tIns="0" rIns="0" bIns="0" rtlCol="0">
                <a:spAutoFit/>
              </a:bodyPr>
              <a:lstStyle/>
              <a:p>
                <a:pPr algn="ctr">
                  <a:spcBef>
                    <a:spcPts val="800"/>
                  </a:spcBef>
                  <a:buSzPct val="90000"/>
                </a:pPr>
                <a:r>
                  <a:rPr lang="en-GB" sz="1200" b="1" dirty="0"/>
                  <a:t>Airline B</a:t>
                </a:r>
              </a:p>
            </p:txBody>
          </p:sp>
          <p:sp>
            <p:nvSpPr>
              <p:cNvPr id="22" name="Airplane outbound">
                <a:extLst>
                  <a:ext uri="{FF2B5EF4-FFF2-40B4-BE49-F238E27FC236}">
                    <a16:creationId xmlns:a16="http://schemas.microsoft.com/office/drawing/2014/main" id="{02F43B21-AE63-7BFC-F28E-F1B79993243D}"/>
                  </a:ext>
                </a:extLst>
              </p:cNvPr>
              <p:cNvSpPr>
                <a:spLocks noChangeAspect="1"/>
              </p:cNvSpPr>
              <p:nvPr/>
            </p:nvSpPr>
            <p:spPr>
              <a:xfrm>
                <a:off x="9255400" y="1973279"/>
                <a:ext cx="671039" cy="551743"/>
              </a:xfrm>
              <a:custGeom>
                <a:avLst/>
                <a:gdLst>
                  <a:gd name="connsiteX0" fmla="*/ 314325 w 857250"/>
                  <a:gd name="connsiteY0" fmla="*/ 400050 h 704850"/>
                  <a:gd name="connsiteX1" fmla="*/ 371475 w 857250"/>
                  <a:gd name="connsiteY1" fmla="*/ 400050 h 704850"/>
                  <a:gd name="connsiteX2" fmla="*/ 190500 w 857250"/>
                  <a:gd name="connsiteY2" fmla="*/ 704850 h 704850"/>
                  <a:gd name="connsiteX3" fmla="*/ 247650 w 857250"/>
                  <a:gd name="connsiteY3" fmla="*/ 704850 h 704850"/>
                  <a:gd name="connsiteX4" fmla="*/ 571500 w 857250"/>
                  <a:gd name="connsiteY4" fmla="*/ 400050 h 704850"/>
                  <a:gd name="connsiteX5" fmla="*/ 742950 w 857250"/>
                  <a:gd name="connsiteY5" fmla="*/ 400050 h 704850"/>
                  <a:gd name="connsiteX6" fmla="*/ 743636 w 857250"/>
                  <a:gd name="connsiteY6" fmla="*/ 399936 h 704850"/>
                  <a:gd name="connsiteX7" fmla="*/ 857250 w 857250"/>
                  <a:gd name="connsiteY7" fmla="*/ 352425 h 704850"/>
                  <a:gd name="connsiteX8" fmla="*/ 743636 w 857250"/>
                  <a:gd name="connsiteY8" fmla="*/ 304914 h 704850"/>
                  <a:gd name="connsiteX9" fmla="*/ 742950 w 857250"/>
                  <a:gd name="connsiteY9" fmla="*/ 304800 h 704850"/>
                  <a:gd name="connsiteX10" fmla="*/ 571500 w 857250"/>
                  <a:gd name="connsiteY10" fmla="*/ 304800 h 704850"/>
                  <a:gd name="connsiteX11" fmla="*/ 247650 w 857250"/>
                  <a:gd name="connsiteY11" fmla="*/ 0 h 704850"/>
                  <a:gd name="connsiteX12" fmla="*/ 190500 w 857250"/>
                  <a:gd name="connsiteY12" fmla="*/ 0 h 704850"/>
                  <a:gd name="connsiteX13" fmla="*/ 371475 w 857250"/>
                  <a:gd name="connsiteY13" fmla="*/ 304800 h 704850"/>
                  <a:gd name="connsiteX14" fmla="*/ 314325 w 857250"/>
                  <a:gd name="connsiteY14" fmla="*/ 304800 h 704850"/>
                  <a:gd name="connsiteX15" fmla="*/ 133350 w 857250"/>
                  <a:gd name="connsiteY15" fmla="*/ 333375 h 704850"/>
                  <a:gd name="connsiteX16" fmla="*/ 47625 w 857250"/>
                  <a:gd name="connsiteY16" fmla="*/ 238125 h 704850"/>
                  <a:gd name="connsiteX17" fmla="*/ 0 w 857250"/>
                  <a:gd name="connsiteY17" fmla="*/ 238125 h 704850"/>
                  <a:gd name="connsiteX18" fmla="*/ 66675 w 857250"/>
                  <a:gd name="connsiteY18" fmla="*/ 352425 h 704850"/>
                  <a:gd name="connsiteX19" fmla="*/ 0 w 857250"/>
                  <a:gd name="connsiteY19" fmla="*/ 466725 h 704850"/>
                  <a:gd name="connsiteX20" fmla="*/ 47625 w 857250"/>
                  <a:gd name="connsiteY20" fmla="*/ 466725 h 704850"/>
                  <a:gd name="connsiteX21" fmla="*/ 133350 w 857250"/>
                  <a:gd name="connsiteY21" fmla="*/ 371475 h 704850"/>
                  <a:gd name="connsiteX22" fmla="*/ 314325 w 857250"/>
                  <a:gd name="connsiteY22" fmla="*/ 4000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0" h="704850">
                    <a:moveTo>
                      <a:pt x="314325" y="400050"/>
                    </a:moveTo>
                    <a:lnTo>
                      <a:pt x="371475" y="400050"/>
                    </a:lnTo>
                    <a:lnTo>
                      <a:pt x="190500" y="704850"/>
                    </a:lnTo>
                    <a:lnTo>
                      <a:pt x="247650" y="704850"/>
                    </a:lnTo>
                    <a:lnTo>
                      <a:pt x="571500" y="400050"/>
                    </a:lnTo>
                    <a:lnTo>
                      <a:pt x="742950" y="400050"/>
                    </a:lnTo>
                    <a:cubicBezTo>
                      <a:pt x="743181" y="400026"/>
                      <a:pt x="743410" y="399988"/>
                      <a:pt x="743636" y="399936"/>
                    </a:cubicBezTo>
                    <a:cubicBezTo>
                      <a:pt x="806844" y="398793"/>
                      <a:pt x="857250" y="377990"/>
                      <a:pt x="857250" y="352425"/>
                    </a:cubicBezTo>
                    <a:cubicBezTo>
                      <a:pt x="857250" y="326860"/>
                      <a:pt x="806844" y="306057"/>
                      <a:pt x="743636" y="304914"/>
                    </a:cubicBezTo>
                    <a:cubicBezTo>
                      <a:pt x="743410" y="304862"/>
                      <a:pt x="743181" y="304823"/>
                      <a:pt x="742950" y="304800"/>
                    </a:cubicBezTo>
                    <a:lnTo>
                      <a:pt x="571500" y="304800"/>
                    </a:lnTo>
                    <a:lnTo>
                      <a:pt x="247650" y="0"/>
                    </a:lnTo>
                    <a:lnTo>
                      <a:pt x="190500" y="0"/>
                    </a:lnTo>
                    <a:lnTo>
                      <a:pt x="371475" y="304800"/>
                    </a:lnTo>
                    <a:lnTo>
                      <a:pt x="314325" y="304800"/>
                    </a:lnTo>
                    <a:cubicBezTo>
                      <a:pt x="276835" y="305876"/>
                      <a:pt x="164716" y="327184"/>
                      <a:pt x="133350" y="333375"/>
                    </a:cubicBezTo>
                    <a:lnTo>
                      <a:pt x="47625" y="238125"/>
                    </a:lnTo>
                    <a:lnTo>
                      <a:pt x="0" y="238125"/>
                    </a:lnTo>
                    <a:lnTo>
                      <a:pt x="66675" y="352425"/>
                    </a:lnTo>
                    <a:lnTo>
                      <a:pt x="0" y="466725"/>
                    </a:lnTo>
                    <a:lnTo>
                      <a:pt x="47625" y="466725"/>
                    </a:lnTo>
                    <a:lnTo>
                      <a:pt x="133350" y="371475"/>
                    </a:lnTo>
                    <a:cubicBezTo>
                      <a:pt x="164592" y="377647"/>
                      <a:pt x="276797" y="398974"/>
                      <a:pt x="314325" y="400050"/>
                    </a:cubicBezTo>
                    <a:close/>
                  </a:path>
                </a:pathLst>
              </a:custGeom>
              <a:solidFill>
                <a:schemeClr val="accent2"/>
              </a:solidFill>
              <a:ln w="9525" cap="flat">
                <a:noFill/>
                <a:prstDash val="solid"/>
                <a:miter/>
              </a:ln>
            </p:spPr>
            <p:txBody>
              <a:bodyPr rtlCol="0" anchor="ctr"/>
              <a:lstStyle/>
              <a:p>
                <a:endParaRPr lang="en-US" sz="2400"/>
              </a:p>
            </p:txBody>
          </p:sp>
        </p:grpSp>
      </p:grpSp>
      <p:grpSp>
        <p:nvGrpSpPr>
          <p:cNvPr id="35" name="Group 34">
            <a:extLst>
              <a:ext uri="{FF2B5EF4-FFF2-40B4-BE49-F238E27FC236}">
                <a16:creationId xmlns:a16="http://schemas.microsoft.com/office/drawing/2014/main" id="{28E8781C-1F3C-0D89-5554-EFEF1404D64E}"/>
              </a:ext>
            </a:extLst>
          </p:cNvPr>
          <p:cNvGrpSpPr/>
          <p:nvPr/>
        </p:nvGrpSpPr>
        <p:grpSpPr>
          <a:xfrm>
            <a:off x="3825280" y="3268031"/>
            <a:ext cx="7281613" cy="1085240"/>
            <a:chOff x="3805220" y="3202711"/>
            <a:chExt cx="7281613" cy="1085240"/>
          </a:xfrm>
        </p:grpSpPr>
        <p:grpSp>
          <p:nvGrpSpPr>
            <p:cNvPr id="5" name="Group 4">
              <a:extLst>
                <a:ext uri="{FF2B5EF4-FFF2-40B4-BE49-F238E27FC236}">
                  <a16:creationId xmlns:a16="http://schemas.microsoft.com/office/drawing/2014/main" id="{DB3104D3-EC33-49BD-2C14-92F0F6867FE0}"/>
                </a:ext>
              </a:extLst>
            </p:cNvPr>
            <p:cNvGrpSpPr/>
            <p:nvPr/>
          </p:nvGrpSpPr>
          <p:grpSpPr>
            <a:xfrm>
              <a:off x="3805220" y="3202711"/>
              <a:ext cx="4387929" cy="1085240"/>
              <a:chOff x="3763733" y="2986731"/>
              <a:chExt cx="4387929" cy="1085240"/>
            </a:xfrm>
          </p:grpSpPr>
          <p:cxnSp>
            <p:nvCxnSpPr>
              <p:cNvPr id="6" name="Straight Arrow Connector 5">
                <a:extLst>
                  <a:ext uri="{FF2B5EF4-FFF2-40B4-BE49-F238E27FC236}">
                    <a16:creationId xmlns:a16="http://schemas.microsoft.com/office/drawing/2014/main" id="{E66A8946-3217-EBD7-8D17-1E29E955BEEE}"/>
                  </a:ext>
                </a:extLst>
              </p:cNvPr>
              <p:cNvCxnSpPr>
                <a:cxnSpLocks/>
              </p:cNvCxnSpPr>
              <p:nvPr/>
            </p:nvCxnSpPr>
            <p:spPr>
              <a:xfrm>
                <a:off x="3763733" y="3529351"/>
                <a:ext cx="4387929"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Scroll: Vertical 14">
                <a:extLst>
                  <a:ext uri="{FF2B5EF4-FFF2-40B4-BE49-F238E27FC236}">
                    <a16:creationId xmlns:a16="http://schemas.microsoft.com/office/drawing/2014/main" id="{4AFB8386-0107-93F6-D5BA-0133E2B85C12}"/>
                  </a:ext>
                </a:extLst>
              </p:cNvPr>
              <p:cNvSpPr/>
              <p:nvPr/>
            </p:nvSpPr>
            <p:spPr>
              <a:xfrm>
                <a:off x="5095474" y="2986731"/>
                <a:ext cx="2062030" cy="1085240"/>
              </a:xfrm>
              <a:prstGeom prst="verticalScroll">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a:spcBef>
                    <a:spcPts val="800"/>
                  </a:spcBef>
                  <a:buSzPct val="90000"/>
                </a:pPr>
                <a:r>
                  <a:rPr lang="en-GB" sz="933" b="1" dirty="0">
                    <a:solidFill>
                      <a:schemeClr val="tx1"/>
                    </a:solidFill>
                  </a:rPr>
                  <a:t>Supplier catalogue between A&amp;C</a:t>
                </a:r>
              </a:p>
              <a:p>
                <a:pPr marL="228594" indent="-228594">
                  <a:spcBef>
                    <a:spcPts val="800"/>
                  </a:spcBef>
                  <a:buSzPct val="90000"/>
                  <a:buFont typeface="Wingdings" panose="05000000000000000000" pitchFamily="2" charset="2"/>
                  <a:buChar char="§"/>
                </a:pPr>
                <a:r>
                  <a:rPr lang="en-GB" sz="933" b="1" dirty="0">
                    <a:solidFill>
                      <a:schemeClr val="tx1"/>
                    </a:solidFill>
                  </a:rPr>
                  <a:t>Transport</a:t>
                </a:r>
                <a:r>
                  <a:rPr lang="en-GB" sz="933" dirty="0">
                    <a:solidFill>
                      <a:schemeClr val="tx1"/>
                    </a:solidFill>
                  </a:rPr>
                  <a:t> : Leg3</a:t>
                </a:r>
              </a:p>
              <a:p>
                <a:pPr marL="228594" indent="-228594">
                  <a:spcBef>
                    <a:spcPts val="800"/>
                  </a:spcBef>
                  <a:buSzPct val="90000"/>
                  <a:buFont typeface="Wingdings" panose="05000000000000000000" pitchFamily="2" charset="2"/>
                  <a:buChar char="§"/>
                </a:pPr>
                <a:r>
                  <a:rPr lang="en-GB" sz="933" b="1" dirty="0">
                    <a:solidFill>
                      <a:schemeClr val="tx1"/>
                    </a:solidFill>
                  </a:rPr>
                  <a:t>Bag</a:t>
                </a:r>
                <a:r>
                  <a:rPr lang="en-GB" sz="933" dirty="0">
                    <a:solidFill>
                      <a:schemeClr val="tx1"/>
                    </a:solidFill>
                  </a:rPr>
                  <a:t> : Bag2</a:t>
                </a:r>
              </a:p>
              <a:p>
                <a:pPr marL="228594" indent="-228594">
                  <a:spcBef>
                    <a:spcPts val="800"/>
                  </a:spcBef>
                  <a:buSzPct val="90000"/>
                  <a:buFont typeface="Arial" panose="020B0604020202020204" pitchFamily="34" charset="0"/>
                  <a:buChar char="•"/>
                </a:pPr>
                <a:endParaRPr lang="en-GB" sz="933" dirty="0">
                  <a:solidFill>
                    <a:schemeClr val="tx1"/>
                  </a:solidFill>
                </a:endParaRPr>
              </a:p>
              <a:p>
                <a:pPr>
                  <a:spcBef>
                    <a:spcPts val="800"/>
                  </a:spcBef>
                  <a:buSzPct val="90000"/>
                </a:pPr>
                <a:endParaRPr lang="en-GB" sz="1600" dirty="0">
                  <a:solidFill>
                    <a:schemeClr val="tx1"/>
                  </a:solidFill>
                </a:endParaRPr>
              </a:p>
            </p:txBody>
          </p:sp>
        </p:grpSp>
        <p:grpSp>
          <p:nvGrpSpPr>
            <p:cNvPr id="32" name="Group 31">
              <a:extLst>
                <a:ext uri="{FF2B5EF4-FFF2-40B4-BE49-F238E27FC236}">
                  <a16:creationId xmlns:a16="http://schemas.microsoft.com/office/drawing/2014/main" id="{72F67C0E-6975-5F09-DEB7-12007B29B434}"/>
                </a:ext>
              </a:extLst>
            </p:cNvPr>
            <p:cNvGrpSpPr/>
            <p:nvPr/>
          </p:nvGrpSpPr>
          <p:grpSpPr>
            <a:xfrm>
              <a:off x="8177980" y="3273305"/>
              <a:ext cx="2908853" cy="944052"/>
              <a:chOff x="8136493" y="3098943"/>
              <a:chExt cx="2908853" cy="944052"/>
            </a:xfrm>
            <a:effectLst>
              <a:outerShdw blurRad="50800" dist="38100" dir="2700000" algn="tl" rotWithShape="0">
                <a:prstClr val="black">
                  <a:alpha val="40000"/>
                </a:prstClr>
              </a:outerShdw>
            </a:effectLst>
          </p:grpSpPr>
          <p:sp>
            <p:nvSpPr>
              <p:cNvPr id="29" name="Rectangle 28">
                <a:extLst>
                  <a:ext uri="{FF2B5EF4-FFF2-40B4-BE49-F238E27FC236}">
                    <a16:creationId xmlns:a16="http://schemas.microsoft.com/office/drawing/2014/main" id="{D5909BA1-29CE-3CAB-1C0B-422BA5823C52}"/>
                  </a:ext>
                </a:extLst>
              </p:cNvPr>
              <p:cNvSpPr/>
              <p:nvPr/>
            </p:nvSpPr>
            <p:spPr>
              <a:xfrm>
                <a:off x="8136493" y="3098943"/>
                <a:ext cx="2908853" cy="9440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marL="228594" indent="-228594">
                  <a:spcBef>
                    <a:spcPts val="800"/>
                  </a:spcBef>
                  <a:buSzPct val="90000"/>
                  <a:buFont typeface="Wingdings" panose="05000000000000000000" pitchFamily="2" charset="2"/>
                  <a:buChar char="§"/>
                </a:pPr>
                <a:endParaRPr lang="en-GB" sz="1600" err="1">
                  <a:solidFill>
                    <a:schemeClr val="tx1"/>
                  </a:solidFill>
                </a:endParaRPr>
              </a:p>
            </p:txBody>
          </p:sp>
          <p:sp>
            <p:nvSpPr>
              <p:cNvPr id="12" name="TextBox 11">
                <a:extLst>
                  <a:ext uri="{FF2B5EF4-FFF2-40B4-BE49-F238E27FC236}">
                    <a16:creationId xmlns:a16="http://schemas.microsoft.com/office/drawing/2014/main" id="{83F8D946-D9A7-DFEC-8679-E1781221641F}"/>
                  </a:ext>
                </a:extLst>
              </p:cNvPr>
              <p:cNvSpPr txBox="1"/>
              <p:nvPr/>
            </p:nvSpPr>
            <p:spPr>
              <a:xfrm>
                <a:off x="9277572" y="3171392"/>
                <a:ext cx="626695" cy="184666"/>
              </a:xfrm>
              <a:prstGeom prst="rect">
                <a:avLst/>
              </a:prstGeom>
              <a:noFill/>
            </p:spPr>
            <p:txBody>
              <a:bodyPr wrap="square" lIns="0" tIns="0" rIns="0" bIns="0" rtlCol="0">
                <a:spAutoFit/>
              </a:bodyPr>
              <a:lstStyle/>
              <a:p>
                <a:pPr algn="ctr">
                  <a:spcBef>
                    <a:spcPts val="800"/>
                  </a:spcBef>
                  <a:buSzPct val="90000"/>
                </a:pPr>
                <a:r>
                  <a:rPr lang="en-GB" sz="1200" b="1" dirty="0"/>
                  <a:t>Airline C</a:t>
                </a:r>
              </a:p>
            </p:txBody>
          </p:sp>
          <p:sp>
            <p:nvSpPr>
              <p:cNvPr id="23" name="Airplane outbound">
                <a:extLst>
                  <a:ext uri="{FF2B5EF4-FFF2-40B4-BE49-F238E27FC236}">
                    <a16:creationId xmlns:a16="http://schemas.microsoft.com/office/drawing/2014/main" id="{87E2ADE0-AA51-61B3-19E4-A26289F1D90E}"/>
                  </a:ext>
                </a:extLst>
              </p:cNvPr>
              <p:cNvSpPr>
                <a:spLocks noChangeAspect="1"/>
              </p:cNvSpPr>
              <p:nvPr/>
            </p:nvSpPr>
            <p:spPr>
              <a:xfrm>
                <a:off x="9255400" y="3428507"/>
                <a:ext cx="671039" cy="551743"/>
              </a:xfrm>
              <a:custGeom>
                <a:avLst/>
                <a:gdLst>
                  <a:gd name="connsiteX0" fmla="*/ 314325 w 857250"/>
                  <a:gd name="connsiteY0" fmla="*/ 400050 h 704850"/>
                  <a:gd name="connsiteX1" fmla="*/ 371475 w 857250"/>
                  <a:gd name="connsiteY1" fmla="*/ 400050 h 704850"/>
                  <a:gd name="connsiteX2" fmla="*/ 190500 w 857250"/>
                  <a:gd name="connsiteY2" fmla="*/ 704850 h 704850"/>
                  <a:gd name="connsiteX3" fmla="*/ 247650 w 857250"/>
                  <a:gd name="connsiteY3" fmla="*/ 704850 h 704850"/>
                  <a:gd name="connsiteX4" fmla="*/ 571500 w 857250"/>
                  <a:gd name="connsiteY4" fmla="*/ 400050 h 704850"/>
                  <a:gd name="connsiteX5" fmla="*/ 742950 w 857250"/>
                  <a:gd name="connsiteY5" fmla="*/ 400050 h 704850"/>
                  <a:gd name="connsiteX6" fmla="*/ 743636 w 857250"/>
                  <a:gd name="connsiteY6" fmla="*/ 399936 h 704850"/>
                  <a:gd name="connsiteX7" fmla="*/ 857250 w 857250"/>
                  <a:gd name="connsiteY7" fmla="*/ 352425 h 704850"/>
                  <a:gd name="connsiteX8" fmla="*/ 743636 w 857250"/>
                  <a:gd name="connsiteY8" fmla="*/ 304914 h 704850"/>
                  <a:gd name="connsiteX9" fmla="*/ 742950 w 857250"/>
                  <a:gd name="connsiteY9" fmla="*/ 304800 h 704850"/>
                  <a:gd name="connsiteX10" fmla="*/ 571500 w 857250"/>
                  <a:gd name="connsiteY10" fmla="*/ 304800 h 704850"/>
                  <a:gd name="connsiteX11" fmla="*/ 247650 w 857250"/>
                  <a:gd name="connsiteY11" fmla="*/ 0 h 704850"/>
                  <a:gd name="connsiteX12" fmla="*/ 190500 w 857250"/>
                  <a:gd name="connsiteY12" fmla="*/ 0 h 704850"/>
                  <a:gd name="connsiteX13" fmla="*/ 371475 w 857250"/>
                  <a:gd name="connsiteY13" fmla="*/ 304800 h 704850"/>
                  <a:gd name="connsiteX14" fmla="*/ 314325 w 857250"/>
                  <a:gd name="connsiteY14" fmla="*/ 304800 h 704850"/>
                  <a:gd name="connsiteX15" fmla="*/ 133350 w 857250"/>
                  <a:gd name="connsiteY15" fmla="*/ 333375 h 704850"/>
                  <a:gd name="connsiteX16" fmla="*/ 47625 w 857250"/>
                  <a:gd name="connsiteY16" fmla="*/ 238125 h 704850"/>
                  <a:gd name="connsiteX17" fmla="*/ 0 w 857250"/>
                  <a:gd name="connsiteY17" fmla="*/ 238125 h 704850"/>
                  <a:gd name="connsiteX18" fmla="*/ 66675 w 857250"/>
                  <a:gd name="connsiteY18" fmla="*/ 352425 h 704850"/>
                  <a:gd name="connsiteX19" fmla="*/ 0 w 857250"/>
                  <a:gd name="connsiteY19" fmla="*/ 466725 h 704850"/>
                  <a:gd name="connsiteX20" fmla="*/ 47625 w 857250"/>
                  <a:gd name="connsiteY20" fmla="*/ 466725 h 704850"/>
                  <a:gd name="connsiteX21" fmla="*/ 133350 w 857250"/>
                  <a:gd name="connsiteY21" fmla="*/ 371475 h 704850"/>
                  <a:gd name="connsiteX22" fmla="*/ 314325 w 857250"/>
                  <a:gd name="connsiteY22" fmla="*/ 4000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0" h="704850">
                    <a:moveTo>
                      <a:pt x="314325" y="400050"/>
                    </a:moveTo>
                    <a:lnTo>
                      <a:pt x="371475" y="400050"/>
                    </a:lnTo>
                    <a:lnTo>
                      <a:pt x="190500" y="704850"/>
                    </a:lnTo>
                    <a:lnTo>
                      <a:pt x="247650" y="704850"/>
                    </a:lnTo>
                    <a:lnTo>
                      <a:pt x="571500" y="400050"/>
                    </a:lnTo>
                    <a:lnTo>
                      <a:pt x="742950" y="400050"/>
                    </a:lnTo>
                    <a:cubicBezTo>
                      <a:pt x="743181" y="400026"/>
                      <a:pt x="743410" y="399988"/>
                      <a:pt x="743636" y="399936"/>
                    </a:cubicBezTo>
                    <a:cubicBezTo>
                      <a:pt x="806844" y="398793"/>
                      <a:pt x="857250" y="377990"/>
                      <a:pt x="857250" y="352425"/>
                    </a:cubicBezTo>
                    <a:cubicBezTo>
                      <a:pt x="857250" y="326860"/>
                      <a:pt x="806844" y="306057"/>
                      <a:pt x="743636" y="304914"/>
                    </a:cubicBezTo>
                    <a:cubicBezTo>
                      <a:pt x="743410" y="304862"/>
                      <a:pt x="743181" y="304823"/>
                      <a:pt x="742950" y="304800"/>
                    </a:cubicBezTo>
                    <a:lnTo>
                      <a:pt x="571500" y="304800"/>
                    </a:lnTo>
                    <a:lnTo>
                      <a:pt x="247650" y="0"/>
                    </a:lnTo>
                    <a:lnTo>
                      <a:pt x="190500" y="0"/>
                    </a:lnTo>
                    <a:lnTo>
                      <a:pt x="371475" y="304800"/>
                    </a:lnTo>
                    <a:lnTo>
                      <a:pt x="314325" y="304800"/>
                    </a:lnTo>
                    <a:cubicBezTo>
                      <a:pt x="276835" y="305876"/>
                      <a:pt x="164716" y="327184"/>
                      <a:pt x="133350" y="333375"/>
                    </a:cubicBezTo>
                    <a:lnTo>
                      <a:pt x="47625" y="238125"/>
                    </a:lnTo>
                    <a:lnTo>
                      <a:pt x="0" y="238125"/>
                    </a:lnTo>
                    <a:lnTo>
                      <a:pt x="66675" y="352425"/>
                    </a:lnTo>
                    <a:lnTo>
                      <a:pt x="0" y="466725"/>
                    </a:lnTo>
                    <a:lnTo>
                      <a:pt x="47625" y="466725"/>
                    </a:lnTo>
                    <a:lnTo>
                      <a:pt x="133350" y="371475"/>
                    </a:lnTo>
                    <a:cubicBezTo>
                      <a:pt x="164592" y="377647"/>
                      <a:pt x="276797" y="398974"/>
                      <a:pt x="314325" y="400050"/>
                    </a:cubicBezTo>
                    <a:close/>
                  </a:path>
                </a:pathLst>
              </a:custGeom>
              <a:solidFill>
                <a:schemeClr val="accent4"/>
              </a:solidFill>
              <a:ln w="9525" cap="flat">
                <a:noFill/>
                <a:prstDash val="solid"/>
                <a:miter/>
              </a:ln>
            </p:spPr>
            <p:txBody>
              <a:bodyPr rtlCol="0" anchor="ctr"/>
              <a:lstStyle/>
              <a:p>
                <a:endParaRPr lang="en-US" sz="2400"/>
              </a:p>
            </p:txBody>
          </p:sp>
        </p:grpSp>
      </p:grpSp>
      <p:grpSp>
        <p:nvGrpSpPr>
          <p:cNvPr id="36" name="Group 35">
            <a:extLst>
              <a:ext uri="{FF2B5EF4-FFF2-40B4-BE49-F238E27FC236}">
                <a16:creationId xmlns:a16="http://schemas.microsoft.com/office/drawing/2014/main" id="{F04603BA-61BF-7D8A-DC47-18F244FC7135}"/>
              </a:ext>
            </a:extLst>
          </p:cNvPr>
          <p:cNvGrpSpPr/>
          <p:nvPr/>
        </p:nvGrpSpPr>
        <p:grpSpPr>
          <a:xfrm>
            <a:off x="3911058" y="4564230"/>
            <a:ext cx="7195835" cy="944052"/>
            <a:chOff x="3890998" y="4848408"/>
            <a:chExt cx="7195835" cy="944052"/>
          </a:xfrm>
        </p:grpSpPr>
        <p:grpSp>
          <p:nvGrpSpPr>
            <p:cNvPr id="28" name="Group 27">
              <a:extLst>
                <a:ext uri="{FF2B5EF4-FFF2-40B4-BE49-F238E27FC236}">
                  <a16:creationId xmlns:a16="http://schemas.microsoft.com/office/drawing/2014/main" id="{985B49F3-DC38-E3F2-ADCF-3EFF6ACA929D}"/>
                </a:ext>
              </a:extLst>
            </p:cNvPr>
            <p:cNvGrpSpPr/>
            <p:nvPr/>
          </p:nvGrpSpPr>
          <p:grpSpPr>
            <a:xfrm>
              <a:off x="3890998" y="4897626"/>
              <a:ext cx="4302151" cy="845617"/>
              <a:chOff x="3849511" y="4705200"/>
              <a:chExt cx="4302151" cy="845617"/>
            </a:xfrm>
          </p:grpSpPr>
          <p:cxnSp>
            <p:nvCxnSpPr>
              <p:cNvPr id="7" name="Straight Arrow Connector 6">
                <a:extLst>
                  <a:ext uri="{FF2B5EF4-FFF2-40B4-BE49-F238E27FC236}">
                    <a16:creationId xmlns:a16="http://schemas.microsoft.com/office/drawing/2014/main" id="{F45599F9-0A4B-511D-24E9-B346CDD4F218}"/>
                  </a:ext>
                </a:extLst>
              </p:cNvPr>
              <p:cNvCxnSpPr>
                <a:cxnSpLocks/>
              </p:cNvCxnSpPr>
              <p:nvPr/>
            </p:nvCxnSpPr>
            <p:spPr>
              <a:xfrm>
                <a:off x="3849511" y="5128008"/>
                <a:ext cx="4302151"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Scroll: Vertical 16">
                <a:extLst>
                  <a:ext uri="{FF2B5EF4-FFF2-40B4-BE49-F238E27FC236}">
                    <a16:creationId xmlns:a16="http://schemas.microsoft.com/office/drawing/2014/main" id="{37B8BD85-4DE8-CE1A-1326-01B1832F9E90}"/>
                  </a:ext>
                </a:extLst>
              </p:cNvPr>
              <p:cNvSpPr/>
              <p:nvPr/>
            </p:nvSpPr>
            <p:spPr>
              <a:xfrm>
                <a:off x="5095474" y="4705200"/>
                <a:ext cx="2062030" cy="845617"/>
              </a:xfrm>
              <a:prstGeom prst="verticalScroll">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a:spcBef>
                    <a:spcPts val="800"/>
                  </a:spcBef>
                  <a:buSzPct val="90000"/>
                </a:pPr>
                <a:r>
                  <a:rPr lang="en-GB" sz="933" b="1" dirty="0">
                    <a:solidFill>
                      <a:schemeClr val="tx1"/>
                    </a:solidFill>
                  </a:rPr>
                  <a:t>Supplier catalogue between A&amp;D</a:t>
                </a:r>
              </a:p>
              <a:p>
                <a:pPr marL="228594" indent="-228594">
                  <a:spcBef>
                    <a:spcPts val="800"/>
                  </a:spcBef>
                  <a:buSzPct val="90000"/>
                  <a:buFont typeface="Wingdings" panose="05000000000000000000" pitchFamily="2" charset="2"/>
                  <a:buChar char="§"/>
                </a:pPr>
                <a:r>
                  <a:rPr lang="en-GB" sz="933" b="1" dirty="0">
                    <a:solidFill>
                      <a:schemeClr val="tx1"/>
                    </a:solidFill>
                  </a:rPr>
                  <a:t>Transport</a:t>
                </a:r>
                <a:r>
                  <a:rPr lang="en-GB" sz="933" dirty="0">
                    <a:solidFill>
                      <a:schemeClr val="tx1"/>
                    </a:solidFill>
                  </a:rPr>
                  <a:t> : Leg1</a:t>
                </a:r>
                <a:endParaRPr lang="en-GB" sz="1600" dirty="0">
                  <a:solidFill>
                    <a:schemeClr val="tx1"/>
                  </a:solidFill>
                </a:endParaRPr>
              </a:p>
            </p:txBody>
          </p:sp>
        </p:grpSp>
        <p:grpSp>
          <p:nvGrpSpPr>
            <p:cNvPr id="33" name="Group 32">
              <a:extLst>
                <a:ext uri="{FF2B5EF4-FFF2-40B4-BE49-F238E27FC236}">
                  <a16:creationId xmlns:a16="http://schemas.microsoft.com/office/drawing/2014/main" id="{B53C630A-EB36-9DF8-7059-01507193A465}"/>
                </a:ext>
              </a:extLst>
            </p:cNvPr>
            <p:cNvGrpSpPr/>
            <p:nvPr/>
          </p:nvGrpSpPr>
          <p:grpSpPr>
            <a:xfrm>
              <a:off x="8177980" y="4848408"/>
              <a:ext cx="2908853" cy="944052"/>
              <a:chOff x="8136493" y="4528763"/>
              <a:chExt cx="2908853" cy="944052"/>
            </a:xfrm>
            <a:effectLst>
              <a:outerShdw blurRad="50800" dist="38100" dir="2700000" algn="tl" rotWithShape="0">
                <a:prstClr val="black">
                  <a:alpha val="40000"/>
                </a:prstClr>
              </a:outerShdw>
            </a:effectLst>
          </p:grpSpPr>
          <p:sp>
            <p:nvSpPr>
              <p:cNvPr id="30" name="Rectangle 29">
                <a:extLst>
                  <a:ext uri="{FF2B5EF4-FFF2-40B4-BE49-F238E27FC236}">
                    <a16:creationId xmlns:a16="http://schemas.microsoft.com/office/drawing/2014/main" id="{1CDDDD8C-F7C0-0066-F0CE-1974D3274D11}"/>
                  </a:ext>
                </a:extLst>
              </p:cNvPr>
              <p:cNvSpPr/>
              <p:nvPr/>
            </p:nvSpPr>
            <p:spPr>
              <a:xfrm>
                <a:off x="8136493" y="4528763"/>
                <a:ext cx="2908853" cy="94405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marL="228594" indent="-228594">
                  <a:spcBef>
                    <a:spcPts val="800"/>
                  </a:spcBef>
                  <a:buSzPct val="90000"/>
                  <a:buFont typeface="Wingdings" panose="05000000000000000000" pitchFamily="2" charset="2"/>
                  <a:buChar char="§"/>
                </a:pPr>
                <a:endParaRPr lang="en-GB" sz="1600" err="1">
                  <a:solidFill>
                    <a:schemeClr val="tx1"/>
                  </a:solidFill>
                </a:endParaRPr>
              </a:p>
            </p:txBody>
          </p:sp>
          <p:sp>
            <p:nvSpPr>
              <p:cNvPr id="16" name="TextBox 15">
                <a:extLst>
                  <a:ext uri="{FF2B5EF4-FFF2-40B4-BE49-F238E27FC236}">
                    <a16:creationId xmlns:a16="http://schemas.microsoft.com/office/drawing/2014/main" id="{E9AAF8F9-3557-1311-1AC8-7D29EE5DECAC}"/>
                  </a:ext>
                </a:extLst>
              </p:cNvPr>
              <p:cNvSpPr txBox="1"/>
              <p:nvPr/>
            </p:nvSpPr>
            <p:spPr>
              <a:xfrm>
                <a:off x="9151380" y="4581253"/>
                <a:ext cx="879079" cy="184666"/>
              </a:xfrm>
              <a:prstGeom prst="rect">
                <a:avLst/>
              </a:prstGeom>
              <a:noFill/>
            </p:spPr>
            <p:txBody>
              <a:bodyPr wrap="square" lIns="0" tIns="0" rIns="0" bIns="0" rtlCol="0">
                <a:spAutoFit/>
              </a:bodyPr>
              <a:lstStyle/>
              <a:p>
                <a:pPr algn="ctr">
                  <a:spcBef>
                    <a:spcPts val="800"/>
                  </a:spcBef>
                  <a:buSzPct val="90000"/>
                </a:pPr>
                <a:r>
                  <a:rPr lang="en-GB" sz="1200" b="1" dirty="0"/>
                  <a:t>Railways D</a:t>
                </a:r>
              </a:p>
            </p:txBody>
          </p:sp>
          <p:sp>
            <p:nvSpPr>
              <p:cNvPr id="24" name="Train front A">
                <a:extLst>
                  <a:ext uri="{FF2B5EF4-FFF2-40B4-BE49-F238E27FC236}">
                    <a16:creationId xmlns:a16="http://schemas.microsoft.com/office/drawing/2014/main" id="{11362660-544B-E3B9-0AAE-8EEFFFC84D63}"/>
                  </a:ext>
                </a:extLst>
              </p:cNvPr>
              <p:cNvSpPr>
                <a:spLocks noChangeAspect="1"/>
              </p:cNvSpPr>
              <p:nvPr/>
            </p:nvSpPr>
            <p:spPr>
              <a:xfrm>
                <a:off x="9425480" y="4861050"/>
                <a:ext cx="330878" cy="516634"/>
              </a:xfrm>
              <a:custGeom>
                <a:avLst/>
                <a:gdLst>
                  <a:gd name="connsiteX0" fmla="*/ 274272 w 542925"/>
                  <a:gd name="connsiteY0" fmla="*/ 0 h 847725"/>
                  <a:gd name="connsiteX1" fmla="*/ 257 w 542925"/>
                  <a:gd name="connsiteY1" fmla="*/ 241840 h 847725"/>
                  <a:gd name="connsiteX2" fmla="*/ 0 w 542925"/>
                  <a:gd name="connsiteY2" fmla="*/ 606971 h 847725"/>
                  <a:gd name="connsiteX3" fmla="*/ 140760 w 542925"/>
                  <a:gd name="connsiteY3" fmla="*/ 723900 h 847725"/>
                  <a:gd name="connsiteX4" fmla="*/ 402165 w 542925"/>
                  <a:gd name="connsiteY4" fmla="*/ 723900 h 847725"/>
                  <a:gd name="connsiteX5" fmla="*/ 542925 w 542925"/>
                  <a:gd name="connsiteY5" fmla="*/ 605981 h 847725"/>
                  <a:gd name="connsiteX6" fmla="*/ 542925 w 542925"/>
                  <a:gd name="connsiteY6" fmla="*/ 241840 h 847725"/>
                  <a:gd name="connsiteX7" fmla="*/ 274272 w 542925"/>
                  <a:gd name="connsiteY7" fmla="*/ 0 h 847725"/>
                  <a:gd name="connsiteX8" fmla="*/ 138113 w 542925"/>
                  <a:gd name="connsiteY8" fmla="*/ 600075 h 847725"/>
                  <a:gd name="connsiteX9" fmla="*/ 90488 w 542925"/>
                  <a:gd name="connsiteY9" fmla="*/ 552450 h 847725"/>
                  <a:gd name="connsiteX10" fmla="*/ 138113 w 542925"/>
                  <a:gd name="connsiteY10" fmla="*/ 504825 h 847725"/>
                  <a:gd name="connsiteX11" fmla="*/ 185738 w 542925"/>
                  <a:gd name="connsiteY11" fmla="*/ 552450 h 847725"/>
                  <a:gd name="connsiteX12" fmla="*/ 138113 w 542925"/>
                  <a:gd name="connsiteY12" fmla="*/ 600075 h 847725"/>
                  <a:gd name="connsiteX13" fmla="*/ 404813 w 542925"/>
                  <a:gd name="connsiteY13" fmla="*/ 600075 h 847725"/>
                  <a:gd name="connsiteX14" fmla="*/ 357188 w 542925"/>
                  <a:gd name="connsiteY14" fmla="*/ 552450 h 847725"/>
                  <a:gd name="connsiteX15" fmla="*/ 404813 w 542925"/>
                  <a:gd name="connsiteY15" fmla="*/ 504825 h 847725"/>
                  <a:gd name="connsiteX16" fmla="*/ 452438 w 542925"/>
                  <a:gd name="connsiteY16" fmla="*/ 552450 h 847725"/>
                  <a:gd name="connsiteX17" fmla="*/ 404813 w 542925"/>
                  <a:gd name="connsiteY17" fmla="*/ 600075 h 847725"/>
                  <a:gd name="connsiteX18" fmla="*/ 271463 w 542925"/>
                  <a:gd name="connsiteY18" fmla="*/ 409575 h 847725"/>
                  <a:gd name="connsiteX19" fmla="*/ 80963 w 542925"/>
                  <a:gd name="connsiteY19" fmla="*/ 191662 h 847725"/>
                  <a:gd name="connsiteX20" fmla="*/ 162144 w 542925"/>
                  <a:gd name="connsiteY20" fmla="*/ 89173 h 847725"/>
                  <a:gd name="connsiteX21" fmla="*/ 380771 w 542925"/>
                  <a:gd name="connsiteY21" fmla="*/ 89173 h 847725"/>
                  <a:gd name="connsiteX22" fmla="*/ 461963 w 542925"/>
                  <a:gd name="connsiteY22" fmla="*/ 191643 h 847725"/>
                  <a:gd name="connsiteX23" fmla="*/ 271463 w 542925"/>
                  <a:gd name="connsiteY23" fmla="*/ 409575 h 847725"/>
                  <a:gd name="connsiteX24" fmla="*/ 14288 w 542925"/>
                  <a:gd name="connsiteY24" fmla="*/ 847725 h 847725"/>
                  <a:gd name="connsiteX25" fmla="*/ 100013 w 542925"/>
                  <a:gd name="connsiteY25" fmla="*/ 847725 h 847725"/>
                  <a:gd name="connsiteX26" fmla="*/ 166688 w 542925"/>
                  <a:gd name="connsiteY26" fmla="*/ 762000 h 847725"/>
                  <a:gd name="connsiteX27" fmla="*/ 100013 w 542925"/>
                  <a:gd name="connsiteY27" fmla="*/ 762000 h 847725"/>
                  <a:gd name="connsiteX28" fmla="*/ 14288 w 542925"/>
                  <a:gd name="connsiteY28" fmla="*/ 847725 h 847725"/>
                  <a:gd name="connsiteX29" fmla="*/ 376238 w 542925"/>
                  <a:gd name="connsiteY29" fmla="*/ 762000 h 847725"/>
                  <a:gd name="connsiteX30" fmla="*/ 442913 w 542925"/>
                  <a:gd name="connsiteY30" fmla="*/ 847725 h 847725"/>
                  <a:gd name="connsiteX31" fmla="*/ 528638 w 542925"/>
                  <a:gd name="connsiteY31" fmla="*/ 847725 h 847725"/>
                  <a:gd name="connsiteX32" fmla="*/ 442913 w 542925"/>
                  <a:gd name="connsiteY32" fmla="*/ 762000 h 847725"/>
                  <a:gd name="connsiteX33" fmla="*/ 376238 w 542925"/>
                  <a:gd name="connsiteY33" fmla="*/ 762000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42925" h="847725">
                    <a:moveTo>
                      <a:pt x="274272" y="0"/>
                    </a:moveTo>
                    <a:cubicBezTo>
                      <a:pt x="118177" y="0"/>
                      <a:pt x="257" y="68247"/>
                      <a:pt x="257" y="241840"/>
                    </a:cubicBezTo>
                    <a:lnTo>
                      <a:pt x="0" y="606971"/>
                    </a:lnTo>
                    <a:cubicBezTo>
                      <a:pt x="0" y="683038"/>
                      <a:pt x="59074" y="723900"/>
                      <a:pt x="140760" y="723900"/>
                    </a:cubicBezTo>
                    <a:lnTo>
                      <a:pt x="402165" y="723900"/>
                    </a:lnTo>
                    <a:cubicBezTo>
                      <a:pt x="483851" y="723900"/>
                      <a:pt x="542925" y="683038"/>
                      <a:pt x="542925" y="605981"/>
                    </a:cubicBezTo>
                    <a:lnTo>
                      <a:pt x="542925" y="241840"/>
                    </a:lnTo>
                    <a:cubicBezTo>
                      <a:pt x="542925" y="69837"/>
                      <a:pt x="430378" y="0"/>
                      <a:pt x="274272" y="0"/>
                    </a:cubicBezTo>
                    <a:close/>
                    <a:moveTo>
                      <a:pt x="138113" y="600075"/>
                    </a:moveTo>
                    <a:cubicBezTo>
                      <a:pt x="111810" y="600075"/>
                      <a:pt x="90488" y="578753"/>
                      <a:pt x="90488" y="552450"/>
                    </a:cubicBezTo>
                    <a:cubicBezTo>
                      <a:pt x="90488" y="526147"/>
                      <a:pt x="111810" y="504825"/>
                      <a:pt x="138113" y="504825"/>
                    </a:cubicBezTo>
                    <a:cubicBezTo>
                      <a:pt x="164415" y="504825"/>
                      <a:pt x="185738" y="526147"/>
                      <a:pt x="185738" y="552450"/>
                    </a:cubicBezTo>
                    <a:cubicBezTo>
                      <a:pt x="185722" y="578746"/>
                      <a:pt x="164409" y="600059"/>
                      <a:pt x="138113" y="600075"/>
                    </a:cubicBezTo>
                    <a:close/>
                    <a:moveTo>
                      <a:pt x="404813" y="600075"/>
                    </a:moveTo>
                    <a:cubicBezTo>
                      <a:pt x="378510" y="600075"/>
                      <a:pt x="357188" y="578753"/>
                      <a:pt x="357188" y="552450"/>
                    </a:cubicBezTo>
                    <a:cubicBezTo>
                      <a:pt x="357188" y="526147"/>
                      <a:pt x="378510" y="504825"/>
                      <a:pt x="404813" y="504825"/>
                    </a:cubicBezTo>
                    <a:cubicBezTo>
                      <a:pt x="431115" y="504825"/>
                      <a:pt x="452438" y="526147"/>
                      <a:pt x="452438" y="552450"/>
                    </a:cubicBezTo>
                    <a:cubicBezTo>
                      <a:pt x="452427" y="578748"/>
                      <a:pt x="431111" y="600064"/>
                      <a:pt x="404813" y="600075"/>
                    </a:cubicBezTo>
                    <a:close/>
                    <a:moveTo>
                      <a:pt x="271463" y="409575"/>
                    </a:moveTo>
                    <a:cubicBezTo>
                      <a:pt x="130178" y="409575"/>
                      <a:pt x="80963" y="265176"/>
                      <a:pt x="80963" y="191662"/>
                    </a:cubicBezTo>
                    <a:cubicBezTo>
                      <a:pt x="80963" y="149257"/>
                      <a:pt x="113109" y="111843"/>
                      <a:pt x="162144" y="89173"/>
                    </a:cubicBezTo>
                    <a:cubicBezTo>
                      <a:pt x="231936" y="59191"/>
                      <a:pt x="310979" y="59191"/>
                      <a:pt x="380771" y="89173"/>
                    </a:cubicBezTo>
                    <a:cubicBezTo>
                      <a:pt x="429825" y="111824"/>
                      <a:pt x="461963" y="149257"/>
                      <a:pt x="461963" y="191643"/>
                    </a:cubicBezTo>
                    <a:cubicBezTo>
                      <a:pt x="461963" y="265176"/>
                      <a:pt x="412747" y="409575"/>
                      <a:pt x="271463" y="409575"/>
                    </a:cubicBezTo>
                    <a:close/>
                    <a:moveTo>
                      <a:pt x="14288" y="847725"/>
                    </a:moveTo>
                    <a:lnTo>
                      <a:pt x="100013" y="847725"/>
                    </a:lnTo>
                    <a:lnTo>
                      <a:pt x="166688" y="762000"/>
                    </a:lnTo>
                    <a:lnTo>
                      <a:pt x="100013" y="762000"/>
                    </a:lnTo>
                    <a:lnTo>
                      <a:pt x="14288" y="847725"/>
                    </a:lnTo>
                    <a:moveTo>
                      <a:pt x="376238" y="762000"/>
                    </a:moveTo>
                    <a:lnTo>
                      <a:pt x="442913" y="847725"/>
                    </a:lnTo>
                    <a:lnTo>
                      <a:pt x="528638" y="847725"/>
                    </a:lnTo>
                    <a:lnTo>
                      <a:pt x="442913" y="762000"/>
                    </a:lnTo>
                    <a:lnTo>
                      <a:pt x="376238" y="762000"/>
                    </a:lnTo>
                  </a:path>
                </a:pathLst>
              </a:custGeom>
              <a:solidFill>
                <a:schemeClr val="accent5"/>
              </a:solidFill>
              <a:ln w="9525" cap="flat">
                <a:noFill/>
                <a:prstDash val="solid"/>
                <a:miter/>
              </a:ln>
            </p:spPr>
            <p:txBody>
              <a:bodyPr rtlCol="0" anchor="ctr"/>
              <a:lstStyle/>
              <a:p>
                <a:endParaRPr lang="en-US" sz="2400"/>
              </a:p>
            </p:txBody>
          </p:sp>
        </p:grpSp>
      </p:grpSp>
      <p:graphicFrame>
        <p:nvGraphicFramePr>
          <p:cNvPr id="8" name="think-cell data - do not delete" hidden="1">
            <a:extLst>
              <a:ext uri="{FF2B5EF4-FFF2-40B4-BE49-F238E27FC236}">
                <a16:creationId xmlns:a16="http://schemas.microsoft.com/office/drawing/2014/main" id="{4778A84B-88C2-CC91-98DE-29A1136A1F1E}"/>
              </a:ext>
            </a:extLst>
          </p:cNvPr>
          <p:cNvGraphicFramePr>
            <a:graphicFrameLocks noChangeAspect="1"/>
          </p:cNvGraphicFramePr>
          <p:nvPr>
            <p:custDataLst>
              <p:tags r:id="rId1"/>
            </p:custDataLst>
            <p:extLst>
              <p:ext uri="{D42A27DB-BD31-4B8C-83A1-F6EECF244321}">
                <p14:modId xmlns:p14="http://schemas.microsoft.com/office/powerpoint/2010/main" val="18794591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think-cell data - do not delete" hidden="1">
                        <a:extLst>
                          <a:ext uri="{FF2B5EF4-FFF2-40B4-BE49-F238E27FC236}">
                            <a16:creationId xmlns:a16="http://schemas.microsoft.com/office/drawing/2014/main" id="{4778A84B-88C2-CC91-98DE-29A1136A1F1E}"/>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F55431-597A-232F-BE49-74E8F5E58887}"/>
              </a:ext>
            </a:extLst>
          </p:cNvPr>
          <p:cNvSpPr>
            <a:spLocks noGrp="1"/>
          </p:cNvSpPr>
          <p:nvPr>
            <p:ph type="title"/>
          </p:nvPr>
        </p:nvSpPr>
        <p:spPr/>
        <p:txBody>
          <a:bodyPr vert="horz"/>
          <a:lstStyle/>
          <a:p>
            <a:r>
              <a:rPr lang="fr-FR" dirty="0"/>
              <a:t>Airlines </a:t>
            </a:r>
            <a:r>
              <a:rPr lang="fr-FR" dirty="0" err="1"/>
              <a:t>own</a:t>
            </a:r>
            <a:r>
              <a:rPr lang="fr-FR" dirty="0"/>
              <a:t> Product Catalogue vs. Supplier Catalogue</a:t>
            </a:r>
            <a:br>
              <a:rPr lang="en-US" dirty="0"/>
            </a:br>
            <a:br>
              <a:rPr lang="en-US" dirty="0"/>
            </a:br>
            <a:endParaRPr lang="en-US" dirty="0"/>
          </a:p>
        </p:txBody>
      </p:sp>
      <p:sp>
        <p:nvSpPr>
          <p:cNvPr id="25" name="Date Placeholder 24">
            <a:extLst>
              <a:ext uri="{FF2B5EF4-FFF2-40B4-BE49-F238E27FC236}">
                <a16:creationId xmlns:a16="http://schemas.microsoft.com/office/drawing/2014/main" id="{0B524D58-51ED-60CD-2161-4EE385863111}"/>
              </a:ext>
            </a:extLst>
          </p:cNvPr>
          <p:cNvSpPr>
            <a:spLocks noGrp="1"/>
          </p:cNvSpPr>
          <p:nvPr>
            <p:ph type="dt" sz="half" idx="10"/>
          </p:nvPr>
        </p:nvSpPr>
        <p:spPr/>
        <p:txBody>
          <a:bodyPr/>
          <a:lstStyle/>
          <a:p>
            <a:r>
              <a:rPr lang="de-DE" noProof="0"/>
              <a:t>02 November 2025</a:t>
            </a:r>
            <a:endParaRPr lang="en-US" noProof="0"/>
          </a:p>
        </p:txBody>
      </p:sp>
      <p:sp>
        <p:nvSpPr>
          <p:cNvPr id="26" name="Footer Placeholder 25">
            <a:extLst>
              <a:ext uri="{FF2B5EF4-FFF2-40B4-BE49-F238E27FC236}">
                <a16:creationId xmlns:a16="http://schemas.microsoft.com/office/drawing/2014/main" id="{5211ED97-522D-31C1-3BF6-A14F439559D1}"/>
              </a:ext>
            </a:extLst>
          </p:cNvPr>
          <p:cNvSpPr>
            <a:spLocks noGrp="1"/>
          </p:cNvSpPr>
          <p:nvPr>
            <p:ph type="ftr" sz="quarter" idx="11"/>
          </p:nvPr>
        </p:nvSpPr>
        <p:spPr/>
        <p:txBody>
          <a:bodyPr/>
          <a:lstStyle/>
          <a:p>
            <a:r>
              <a:rPr lang="en-US" noProof="0"/>
              <a:t>APMWG</a:t>
            </a:r>
          </a:p>
        </p:txBody>
      </p:sp>
      <p:sp>
        <p:nvSpPr>
          <p:cNvPr id="27" name="Slide Number Placeholder 26">
            <a:extLst>
              <a:ext uri="{FF2B5EF4-FFF2-40B4-BE49-F238E27FC236}">
                <a16:creationId xmlns:a16="http://schemas.microsoft.com/office/drawing/2014/main" id="{39BF1622-A789-0D0C-D841-EB306184F742}"/>
              </a:ext>
            </a:extLst>
          </p:cNvPr>
          <p:cNvSpPr>
            <a:spLocks noGrp="1"/>
          </p:cNvSpPr>
          <p:nvPr>
            <p:ph type="sldNum" sz="quarter" idx="12"/>
          </p:nvPr>
        </p:nvSpPr>
        <p:spPr/>
        <p:txBody>
          <a:bodyPr/>
          <a:lstStyle/>
          <a:p>
            <a:fld id="{67242389-55B8-40B0-97B3-D8452A5F367E}" type="slidenum">
              <a:rPr lang="en-US" noProof="0" smtClean="0"/>
              <a:pPr/>
              <a:t>9</a:t>
            </a:fld>
            <a:endParaRPr lang="en-US" noProof="0" dirty="0"/>
          </a:p>
        </p:txBody>
      </p:sp>
      <p:sp>
        <p:nvSpPr>
          <p:cNvPr id="10" name="Rectangle 9">
            <a:extLst>
              <a:ext uri="{FF2B5EF4-FFF2-40B4-BE49-F238E27FC236}">
                <a16:creationId xmlns:a16="http://schemas.microsoft.com/office/drawing/2014/main" id="{A3836013-E511-4A33-E7B1-48EE2A4396EF}"/>
              </a:ext>
            </a:extLst>
          </p:cNvPr>
          <p:cNvSpPr/>
          <p:nvPr/>
        </p:nvSpPr>
        <p:spPr>
          <a:xfrm>
            <a:off x="1181883" y="2113019"/>
            <a:ext cx="2908853" cy="3395263"/>
          </a:xfrm>
          <a:prstGeom prst="rect">
            <a:avLst/>
          </a:prstGeom>
          <a:solidFill>
            <a:schemeClr val="bg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marL="228594" indent="-228594">
              <a:spcBef>
                <a:spcPts val="800"/>
              </a:spcBef>
              <a:buSzPct val="90000"/>
              <a:buFont typeface="Wingdings" panose="05000000000000000000" pitchFamily="2" charset="2"/>
              <a:buChar char="§"/>
            </a:pPr>
            <a:endParaRPr lang="en-GB" sz="1600" err="1">
              <a:solidFill>
                <a:schemeClr val="tx1"/>
              </a:solidFill>
            </a:endParaRPr>
          </a:p>
        </p:txBody>
      </p:sp>
      <p:sp>
        <p:nvSpPr>
          <p:cNvPr id="11" name="TextBox 10">
            <a:extLst>
              <a:ext uri="{FF2B5EF4-FFF2-40B4-BE49-F238E27FC236}">
                <a16:creationId xmlns:a16="http://schemas.microsoft.com/office/drawing/2014/main" id="{67259A82-0C31-E79D-CB6C-C200E152BD8B}"/>
              </a:ext>
            </a:extLst>
          </p:cNvPr>
          <p:cNvSpPr txBox="1"/>
          <p:nvPr/>
        </p:nvSpPr>
        <p:spPr>
          <a:xfrm>
            <a:off x="2274685" y="2232186"/>
            <a:ext cx="723249" cy="184666"/>
          </a:xfrm>
          <a:prstGeom prst="rect">
            <a:avLst/>
          </a:prstGeom>
          <a:noFill/>
        </p:spPr>
        <p:txBody>
          <a:bodyPr wrap="square" lIns="0" tIns="0" rIns="0" bIns="0" rtlCol="0">
            <a:spAutoFit/>
          </a:bodyPr>
          <a:lstStyle/>
          <a:p>
            <a:pPr algn="ctr">
              <a:spcBef>
                <a:spcPts val="800"/>
              </a:spcBef>
              <a:buSzPct val="90000"/>
            </a:pPr>
            <a:r>
              <a:rPr lang="en-GB" sz="1200" b="1" dirty="0">
                <a:solidFill>
                  <a:schemeClr val="accent1"/>
                </a:solidFill>
              </a:rPr>
              <a:t>Airline A</a:t>
            </a:r>
          </a:p>
        </p:txBody>
      </p:sp>
      <p:sp>
        <p:nvSpPr>
          <p:cNvPr id="13" name="Scroll: Vertical 12">
            <a:extLst>
              <a:ext uri="{FF2B5EF4-FFF2-40B4-BE49-F238E27FC236}">
                <a16:creationId xmlns:a16="http://schemas.microsoft.com/office/drawing/2014/main" id="{FC52E0F6-EC6A-3CB6-29C3-2DDA8418BD6D}"/>
              </a:ext>
            </a:extLst>
          </p:cNvPr>
          <p:cNvSpPr/>
          <p:nvPr/>
        </p:nvSpPr>
        <p:spPr>
          <a:xfrm>
            <a:off x="1433099" y="3177355"/>
            <a:ext cx="2377941" cy="2176433"/>
          </a:xfrm>
          <a:prstGeom prst="verticalScroll">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6000" tIns="96000" rIns="96000" bIns="96000" numCol="1" spcCol="0" rtlCol="0" fromWordArt="0" anchor="t" anchorCtr="0" forceAA="0" compatLnSpc="1">
            <a:prstTxWarp prst="textNoShape">
              <a:avLst/>
            </a:prstTxWarp>
            <a:noAutofit/>
          </a:bodyPr>
          <a:lstStyle/>
          <a:p>
            <a:pPr>
              <a:spcBef>
                <a:spcPts val="800"/>
              </a:spcBef>
              <a:buSzPct val="90000"/>
            </a:pPr>
            <a:r>
              <a:rPr lang="en-GB" sz="933" b="1" dirty="0">
                <a:solidFill>
                  <a:schemeClr val="tx1"/>
                </a:solidFill>
              </a:rPr>
              <a:t>Airlines A’s Product catalogue</a:t>
            </a:r>
          </a:p>
          <a:p>
            <a:pPr marL="228594" indent="-228594">
              <a:spcBef>
                <a:spcPts val="800"/>
              </a:spcBef>
              <a:buSzPct val="90000"/>
              <a:buFont typeface="Wingdings" panose="05000000000000000000" pitchFamily="2" charset="2"/>
              <a:buChar char="§"/>
            </a:pPr>
            <a:r>
              <a:rPr lang="en-GB" sz="933" b="1" dirty="0">
                <a:solidFill>
                  <a:schemeClr val="tx1"/>
                </a:solidFill>
              </a:rPr>
              <a:t>Transport</a:t>
            </a:r>
            <a:r>
              <a:rPr lang="en-GB" sz="933" dirty="0">
                <a:solidFill>
                  <a:schemeClr val="tx1"/>
                </a:solidFill>
              </a:rPr>
              <a:t>: Leg1/Leg2/Leg3</a:t>
            </a:r>
          </a:p>
          <a:p>
            <a:pPr marL="228594" indent="-228594">
              <a:spcBef>
                <a:spcPts val="800"/>
              </a:spcBef>
              <a:buSzPct val="90000"/>
              <a:buFont typeface="Wingdings" panose="05000000000000000000" pitchFamily="2" charset="2"/>
              <a:buChar char="§"/>
            </a:pPr>
            <a:r>
              <a:rPr lang="en-GB" sz="933" b="1" dirty="0">
                <a:solidFill>
                  <a:schemeClr val="tx1"/>
                </a:solidFill>
              </a:rPr>
              <a:t>Lounge</a:t>
            </a:r>
            <a:r>
              <a:rPr lang="en-GB" sz="933" dirty="0">
                <a:solidFill>
                  <a:schemeClr val="tx1"/>
                </a:solidFill>
              </a:rPr>
              <a:t>: Lounge1/Lounge2</a:t>
            </a:r>
          </a:p>
          <a:p>
            <a:pPr marL="228594" indent="-228594">
              <a:spcBef>
                <a:spcPts val="800"/>
              </a:spcBef>
              <a:buSzPct val="90000"/>
              <a:buFont typeface="Wingdings" panose="05000000000000000000" pitchFamily="2" charset="2"/>
              <a:buChar char="§"/>
            </a:pPr>
            <a:r>
              <a:rPr lang="en-GB" sz="933" b="1" dirty="0">
                <a:solidFill>
                  <a:schemeClr val="tx1"/>
                </a:solidFill>
              </a:rPr>
              <a:t>Meal</a:t>
            </a:r>
            <a:r>
              <a:rPr lang="en-GB" sz="933" dirty="0">
                <a:solidFill>
                  <a:schemeClr val="tx1"/>
                </a:solidFill>
              </a:rPr>
              <a:t>: Meal1/Meal2</a:t>
            </a:r>
          </a:p>
          <a:p>
            <a:pPr marL="228594" indent="-228594">
              <a:spcBef>
                <a:spcPts val="800"/>
              </a:spcBef>
              <a:buSzPct val="90000"/>
              <a:buFont typeface="Wingdings" panose="05000000000000000000" pitchFamily="2" charset="2"/>
              <a:buChar char="§"/>
            </a:pPr>
            <a:r>
              <a:rPr lang="en-GB" sz="933" b="1" dirty="0">
                <a:solidFill>
                  <a:schemeClr val="tx1"/>
                </a:solidFill>
              </a:rPr>
              <a:t>Seat</a:t>
            </a:r>
            <a:r>
              <a:rPr lang="en-GB" sz="933" dirty="0">
                <a:solidFill>
                  <a:schemeClr val="tx1"/>
                </a:solidFill>
              </a:rPr>
              <a:t>: Seat1/Seat2/Seat3</a:t>
            </a:r>
          </a:p>
          <a:p>
            <a:pPr marL="228594" indent="-228594">
              <a:spcBef>
                <a:spcPts val="800"/>
              </a:spcBef>
              <a:buSzPct val="90000"/>
              <a:buFont typeface="Wingdings" panose="05000000000000000000" pitchFamily="2" charset="2"/>
              <a:buChar char="§"/>
            </a:pPr>
            <a:r>
              <a:rPr lang="en-GB" sz="933" b="1" dirty="0">
                <a:solidFill>
                  <a:schemeClr val="tx1"/>
                </a:solidFill>
              </a:rPr>
              <a:t>Bag</a:t>
            </a:r>
            <a:r>
              <a:rPr lang="en-GB" sz="933" dirty="0">
                <a:solidFill>
                  <a:schemeClr val="tx1"/>
                </a:solidFill>
              </a:rPr>
              <a:t>: Bag1/Bag2</a:t>
            </a:r>
          </a:p>
          <a:p>
            <a:pPr marL="228594" indent="-228594">
              <a:spcBef>
                <a:spcPts val="800"/>
              </a:spcBef>
              <a:buSzPct val="90000"/>
              <a:buFont typeface="Wingdings" panose="05000000000000000000" pitchFamily="2" charset="2"/>
              <a:buChar char="§"/>
            </a:pPr>
            <a:endParaRPr lang="en-GB" sz="1600" dirty="0">
              <a:solidFill>
                <a:schemeClr val="tx1"/>
              </a:solidFill>
            </a:endParaRPr>
          </a:p>
        </p:txBody>
      </p:sp>
      <p:sp>
        <p:nvSpPr>
          <p:cNvPr id="18" name="TextBox 17">
            <a:extLst>
              <a:ext uri="{FF2B5EF4-FFF2-40B4-BE49-F238E27FC236}">
                <a16:creationId xmlns:a16="http://schemas.microsoft.com/office/drawing/2014/main" id="{FA8D6D5F-148F-E18B-8830-831EC906D2A9}"/>
              </a:ext>
            </a:extLst>
          </p:cNvPr>
          <p:cNvSpPr txBox="1"/>
          <p:nvPr/>
        </p:nvSpPr>
        <p:spPr>
          <a:xfrm>
            <a:off x="2274685" y="1763644"/>
            <a:ext cx="723249" cy="215444"/>
          </a:xfrm>
          <a:prstGeom prst="rect">
            <a:avLst/>
          </a:prstGeom>
          <a:noFill/>
        </p:spPr>
        <p:txBody>
          <a:bodyPr wrap="square" lIns="0" tIns="0" rIns="0" bIns="0" rtlCol="0">
            <a:spAutoFit/>
          </a:bodyPr>
          <a:lstStyle/>
          <a:p>
            <a:pPr algn="ctr">
              <a:spcBef>
                <a:spcPts val="800"/>
              </a:spcBef>
              <a:buSzPct val="90000"/>
            </a:pPr>
            <a:r>
              <a:rPr lang="en-GB" sz="1400" b="1" dirty="0">
                <a:solidFill>
                  <a:schemeClr val="accent1"/>
                </a:solidFill>
              </a:rPr>
              <a:t>Supplier</a:t>
            </a:r>
          </a:p>
        </p:txBody>
      </p:sp>
      <p:sp>
        <p:nvSpPr>
          <p:cNvPr id="19" name="TextBox 18">
            <a:extLst>
              <a:ext uri="{FF2B5EF4-FFF2-40B4-BE49-F238E27FC236}">
                <a16:creationId xmlns:a16="http://schemas.microsoft.com/office/drawing/2014/main" id="{1598E01F-60AF-5D06-0544-C628FE3F7B61}"/>
              </a:ext>
            </a:extLst>
          </p:cNvPr>
          <p:cNvSpPr txBox="1"/>
          <p:nvPr/>
        </p:nvSpPr>
        <p:spPr>
          <a:xfrm>
            <a:off x="9164492" y="1763644"/>
            <a:ext cx="975948" cy="215444"/>
          </a:xfrm>
          <a:prstGeom prst="rect">
            <a:avLst/>
          </a:prstGeom>
          <a:noFill/>
        </p:spPr>
        <p:txBody>
          <a:bodyPr wrap="square" lIns="0" tIns="0" rIns="0" bIns="0" rtlCol="0">
            <a:spAutoFit/>
          </a:bodyPr>
          <a:lstStyle>
            <a:defPPr>
              <a:defRPr lang="de-DE"/>
            </a:defPPr>
            <a:lvl1pPr algn="ctr">
              <a:spcBef>
                <a:spcPts val="600"/>
              </a:spcBef>
              <a:buSzPct val="90000"/>
              <a:defRPr sz="1050" b="1">
                <a:solidFill>
                  <a:schemeClr val="tx2"/>
                </a:solidFill>
                <a:latin typeface="+mj-lt"/>
              </a:defRPr>
            </a:lvl1pPr>
          </a:lstStyle>
          <a:p>
            <a:r>
              <a:rPr lang="en-GB" sz="1400" dirty="0">
                <a:latin typeface="+mn-lt"/>
              </a:rPr>
              <a:t>Retailer</a:t>
            </a:r>
          </a:p>
        </p:txBody>
      </p:sp>
      <p:sp>
        <p:nvSpPr>
          <p:cNvPr id="21" name="Airplane outbound">
            <a:extLst>
              <a:ext uri="{FF2B5EF4-FFF2-40B4-BE49-F238E27FC236}">
                <a16:creationId xmlns:a16="http://schemas.microsoft.com/office/drawing/2014/main" id="{C982D625-C176-2E48-CDF2-DD2AE3BC9C21}"/>
              </a:ext>
            </a:extLst>
          </p:cNvPr>
          <p:cNvSpPr>
            <a:spLocks noChangeAspect="1"/>
          </p:cNvSpPr>
          <p:nvPr/>
        </p:nvSpPr>
        <p:spPr>
          <a:xfrm>
            <a:off x="2300790" y="2538881"/>
            <a:ext cx="671039" cy="551743"/>
          </a:xfrm>
          <a:custGeom>
            <a:avLst/>
            <a:gdLst>
              <a:gd name="connsiteX0" fmla="*/ 314325 w 857250"/>
              <a:gd name="connsiteY0" fmla="*/ 400050 h 704850"/>
              <a:gd name="connsiteX1" fmla="*/ 371475 w 857250"/>
              <a:gd name="connsiteY1" fmla="*/ 400050 h 704850"/>
              <a:gd name="connsiteX2" fmla="*/ 190500 w 857250"/>
              <a:gd name="connsiteY2" fmla="*/ 704850 h 704850"/>
              <a:gd name="connsiteX3" fmla="*/ 247650 w 857250"/>
              <a:gd name="connsiteY3" fmla="*/ 704850 h 704850"/>
              <a:gd name="connsiteX4" fmla="*/ 571500 w 857250"/>
              <a:gd name="connsiteY4" fmla="*/ 400050 h 704850"/>
              <a:gd name="connsiteX5" fmla="*/ 742950 w 857250"/>
              <a:gd name="connsiteY5" fmla="*/ 400050 h 704850"/>
              <a:gd name="connsiteX6" fmla="*/ 743636 w 857250"/>
              <a:gd name="connsiteY6" fmla="*/ 399936 h 704850"/>
              <a:gd name="connsiteX7" fmla="*/ 857250 w 857250"/>
              <a:gd name="connsiteY7" fmla="*/ 352425 h 704850"/>
              <a:gd name="connsiteX8" fmla="*/ 743636 w 857250"/>
              <a:gd name="connsiteY8" fmla="*/ 304914 h 704850"/>
              <a:gd name="connsiteX9" fmla="*/ 742950 w 857250"/>
              <a:gd name="connsiteY9" fmla="*/ 304800 h 704850"/>
              <a:gd name="connsiteX10" fmla="*/ 571500 w 857250"/>
              <a:gd name="connsiteY10" fmla="*/ 304800 h 704850"/>
              <a:gd name="connsiteX11" fmla="*/ 247650 w 857250"/>
              <a:gd name="connsiteY11" fmla="*/ 0 h 704850"/>
              <a:gd name="connsiteX12" fmla="*/ 190500 w 857250"/>
              <a:gd name="connsiteY12" fmla="*/ 0 h 704850"/>
              <a:gd name="connsiteX13" fmla="*/ 371475 w 857250"/>
              <a:gd name="connsiteY13" fmla="*/ 304800 h 704850"/>
              <a:gd name="connsiteX14" fmla="*/ 314325 w 857250"/>
              <a:gd name="connsiteY14" fmla="*/ 304800 h 704850"/>
              <a:gd name="connsiteX15" fmla="*/ 133350 w 857250"/>
              <a:gd name="connsiteY15" fmla="*/ 333375 h 704850"/>
              <a:gd name="connsiteX16" fmla="*/ 47625 w 857250"/>
              <a:gd name="connsiteY16" fmla="*/ 238125 h 704850"/>
              <a:gd name="connsiteX17" fmla="*/ 0 w 857250"/>
              <a:gd name="connsiteY17" fmla="*/ 238125 h 704850"/>
              <a:gd name="connsiteX18" fmla="*/ 66675 w 857250"/>
              <a:gd name="connsiteY18" fmla="*/ 352425 h 704850"/>
              <a:gd name="connsiteX19" fmla="*/ 0 w 857250"/>
              <a:gd name="connsiteY19" fmla="*/ 466725 h 704850"/>
              <a:gd name="connsiteX20" fmla="*/ 47625 w 857250"/>
              <a:gd name="connsiteY20" fmla="*/ 466725 h 704850"/>
              <a:gd name="connsiteX21" fmla="*/ 133350 w 857250"/>
              <a:gd name="connsiteY21" fmla="*/ 371475 h 704850"/>
              <a:gd name="connsiteX22" fmla="*/ 314325 w 857250"/>
              <a:gd name="connsiteY22" fmla="*/ 4000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250" h="704850">
                <a:moveTo>
                  <a:pt x="314325" y="400050"/>
                </a:moveTo>
                <a:lnTo>
                  <a:pt x="371475" y="400050"/>
                </a:lnTo>
                <a:lnTo>
                  <a:pt x="190500" y="704850"/>
                </a:lnTo>
                <a:lnTo>
                  <a:pt x="247650" y="704850"/>
                </a:lnTo>
                <a:lnTo>
                  <a:pt x="571500" y="400050"/>
                </a:lnTo>
                <a:lnTo>
                  <a:pt x="742950" y="400050"/>
                </a:lnTo>
                <a:cubicBezTo>
                  <a:pt x="743181" y="400026"/>
                  <a:pt x="743410" y="399988"/>
                  <a:pt x="743636" y="399936"/>
                </a:cubicBezTo>
                <a:cubicBezTo>
                  <a:pt x="806844" y="398793"/>
                  <a:pt x="857250" y="377990"/>
                  <a:pt x="857250" y="352425"/>
                </a:cubicBezTo>
                <a:cubicBezTo>
                  <a:pt x="857250" y="326860"/>
                  <a:pt x="806844" y="306057"/>
                  <a:pt x="743636" y="304914"/>
                </a:cubicBezTo>
                <a:cubicBezTo>
                  <a:pt x="743410" y="304862"/>
                  <a:pt x="743181" y="304823"/>
                  <a:pt x="742950" y="304800"/>
                </a:cubicBezTo>
                <a:lnTo>
                  <a:pt x="571500" y="304800"/>
                </a:lnTo>
                <a:lnTo>
                  <a:pt x="247650" y="0"/>
                </a:lnTo>
                <a:lnTo>
                  <a:pt x="190500" y="0"/>
                </a:lnTo>
                <a:lnTo>
                  <a:pt x="371475" y="304800"/>
                </a:lnTo>
                <a:lnTo>
                  <a:pt x="314325" y="304800"/>
                </a:lnTo>
                <a:cubicBezTo>
                  <a:pt x="276835" y="305876"/>
                  <a:pt x="164716" y="327184"/>
                  <a:pt x="133350" y="333375"/>
                </a:cubicBezTo>
                <a:lnTo>
                  <a:pt x="47625" y="238125"/>
                </a:lnTo>
                <a:lnTo>
                  <a:pt x="0" y="238125"/>
                </a:lnTo>
                <a:lnTo>
                  <a:pt x="66675" y="352425"/>
                </a:lnTo>
                <a:lnTo>
                  <a:pt x="0" y="466725"/>
                </a:lnTo>
                <a:lnTo>
                  <a:pt x="47625" y="466725"/>
                </a:lnTo>
                <a:lnTo>
                  <a:pt x="133350" y="371475"/>
                </a:lnTo>
                <a:cubicBezTo>
                  <a:pt x="164592" y="377647"/>
                  <a:pt x="276797" y="398974"/>
                  <a:pt x="314325" y="400050"/>
                </a:cubicBezTo>
                <a:close/>
              </a:path>
            </a:pathLst>
          </a:custGeom>
          <a:solidFill>
            <a:schemeClr val="accent1"/>
          </a:solidFill>
          <a:ln w="9525" cap="flat">
            <a:noFill/>
            <a:prstDash val="solid"/>
            <a:miter/>
          </a:ln>
        </p:spPr>
        <p:txBody>
          <a:bodyPr rtlCol="0" anchor="ctr"/>
          <a:lstStyle/>
          <a:p>
            <a:endParaRPr lang="en-US" sz="2400"/>
          </a:p>
        </p:txBody>
      </p:sp>
      <p:sp>
        <p:nvSpPr>
          <p:cNvPr id="40" name="TextBox 39">
            <a:extLst>
              <a:ext uri="{FF2B5EF4-FFF2-40B4-BE49-F238E27FC236}">
                <a16:creationId xmlns:a16="http://schemas.microsoft.com/office/drawing/2014/main" id="{A57CFEB0-6A61-53FD-5B4B-B17727DBBFAB}"/>
              </a:ext>
            </a:extLst>
          </p:cNvPr>
          <p:cNvSpPr txBox="1"/>
          <p:nvPr/>
        </p:nvSpPr>
        <p:spPr>
          <a:xfrm>
            <a:off x="1622431" y="5603413"/>
            <a:ext cx="8879403" cy="461665"/>
          </a:xfrm>
          <a:prstGeom prst="rect">
            <a:avLst/>
          </a:prstGeom>
          <a:noFill/>
        </p:spPr>
        <p:txBody>
          <a:bodyPr wrap="square">
            <a:spAutoFit/>
          </a:bodyPr>
          <a:lstStyle/>
          <a:p>
            <a:pPr algn="ctr"/>
            <a:r>
              <a:rPr lang="en-US" sz="1200" i="1" dirty="0"/>
              <a:t>The airline’s full product set is selectively shared through partner-specific Supplier Catalogues. Each defines which products are exchangeable between two parties.</a:t>
            </a:r>
          </a:p>
        </p:txBody>
      </p:sp>
    </p:spTree>
    <p:extLst>
      <p:ext uri="{BB962C8B-B14F-4D97-AF65-F5344CB8AC3E}">
        <p14:creationId xmlns:p14="http://schemas.microsoft.com/office/powerpoint/2010/main" val="557685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EE4P_STYLE_ID" val="12ce2826-6055-4bb7-918b-b73fd426967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Y.qaGDFTHWiajjQru90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2" Type="http://schemas.openxmlformats.org/officeDocument/2006/relationships/image" Target="../media/image4.svg"/><Relationship Id="rId1" Type="http://schemas.openxmlformats.org/officeDocument/2006/relationships/image" Target="../media/image3.png"/></Relationships>
</file>

<file path=ppt/theme/theme1.xml><?xml version="1.0" encoding="utf-8"?>
<a:theme xmlns:a="http://schemas.openxmlformats.org/drawingml/2006/main" name="IATA_Master">
  <a:themeElements>
    <a:clrScheme name="IATA">
      <a:dk1>
        <a:sysClr val="windowText" lastClr="000000"/>
      </a:dk1>
      <a:lt1>
        <a:sysClr val="window" lastClr="FFFFFF"/>
      </a:lt1>
      <a:dk2>
        <a:srgbClr val="000000"/>
      </a:dk2>
      <a:lt2>
        <a:srgbClr val="E6E6E6"/>
      </a:lt2>
      <a:accent1>
        <a:srgbClr val="1E32FA"/>
      </a:accent1>
      <a:accent2>
        <a:srgbClr val="FAC832"/>
      </a:accent2>
      <a:accent3>
        <a:srgbClr val="F04632"/>
      </a:accent3>
      <a:accent4>
        <a:srgbClr val="289632"/>
      </a:accent4>
      <a:accent5>
        <a:srgbClr val="F046C8"/>
      </a:accent5>
      <a:accent6>
        <a:srgbClr val="5A14A0"/>
      </a:accent6>
      <a:hlink>
        <a:srgbClr val="1E32FA"/>
      </a:hlink>
      <a:folHlink>
        <a:srgbClr val="5A14A0"/>
      </a:folHlink>
    </a:clrScheme>
    <a:fontScheme name="IATA">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default.pptx  -  Read-Only" id="{3393D6F6-3DDF-4AD8-AF70-01B8C861C0E9}" vid="{9069597E-579C-472E-93EE-52701DC46031}"/>
    </a:ext>
  </a:extLst>
</a:theme>
</file>

<file path=ppt/theme/theme2.xml><?xml version="1.0" encoding="utf-8"?>
<a:theme xmlns:a="http://schemas.openxmlformats.org/drawingml/2006/main" name="10_BLUE_MasterSlide">
  <a:themeElements>
    <a:clrScheme name="IATA">
      <a:dk1>
        <a:sysClr val="windowText" lastClr="000000"/>
      </a:dk1>
      <a:lt1>
        <a:sysClr val="window" lastClr="FFFFFF"/>
      </a:lt1>
      <a:dk2>
        <a:srgbClr val="000000"/>
      </a:dk2>
      <a:lt2>
        <a:srgbClr val="E6E6E6"/>
      </a:lt2>
      <a:accent1>
        <a:srgbClr val="1E32FA"/>
      </a:accent1>
      <a:accent2>
        <a:srgbClr val="FAC832"/>
      </a:accent2>
      <a:accent3>
        <a:srgbClr val="F04632"/>
      </a:accent3>
      <a:accent4>
        <a:srgbClr val="289632"/>
      </a:accent4>
      <a:accent5>
        <a:srgbClr val="F046C8"/>
      </a:accent5>
      <a:accent6>
        <a:srgbClr val="5A14A0"/>
      </a:accent6>
      <a:hlink>
        <a:srgbClr val="1E32FA"/>
      </a:hlink>
      <a:folHlink>
        <a:srgbClr val="5A14A0"/>
      </a:folHlink>
    </a:clrScheme>
    <a:fontScheme name="IATA">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spPr>
      <a:bodyPr/>
      <a:lstStyle>
        <a:defPPr algn="l">
          <a:defRPr dirty="0"/>
        </a:defPPr>
      </a:lstStyle>
      <a:style>
        <a:lnRef idx="2">
          <a:scrgbClr r="0" g="0" b="0"/>
        </a:lnRef>
        <a:fillRef idx="1">
          <a:scrgbClr r="0" g="0" b="0"/>
        </a:fillRef>
        <a:effectRef idx="0">
          <a:schemeClr val="accent1">
            <a:hueOff val="0"/>
            <a:satOff val="0"/>
            <a:lumOff val="0"/>
            <a:alphaOff val="0"/>
          </a:schemeClr>
        </a:effectRef>
        <a:fontRef idx="minor">
          <a:schemeClr val="lt1"/>
        </a:fontRef>
      </a:style>
    </a:spDef>
  </a:objectDefaults>
  <a:extraClrSchemeLst/>
  <a:extLst>
    <a:ext uri="{05A4C25C-085E-4340-85A3-A5531E510DB2}">
      <thm15:themeFamily xmlns:thm15="http://schemas.microsoft.com/office/thememl/2012/main" name="IATA_Master" id="{F4270428-0824-44E2-8287-16451439789E}" vid="{6FF4879D-9B14-45CF-A18D-2618BD8A671F}"/>
    </a:ext>
  </a:extLst>
</a:theme>
</file>

<file path=ppt/theme/theme3.xml><?xml version="1.0" encoding="utf-8"?>
<a:theme xmlns:a="http://schemas.openxmlformats.org/drawingml/2006/main" name="Office Theme">
  <a:themeElements>
    <a:clrScheme name="IATA">
      <a:dk1>
        <a:sysClr val="windowText" lastClr="000000"/>
      </a:dk1>
      <a:lt1>
        <a:sysClr val="window" lastClr="FFFFFF"/>
      </a:lt1>
      <a:dk2>
        <a:srgbClr val="000000"/>
      </a:dk2>
      <a:lt2>
        <a:srgbClr val="E6E6E6"/>
      </a:lt2>
      <a:accent1>
        <a:srgbClr val="1E32FA"/>
      </a:accent1>
      <a:accent2>
        <a:srgbClr val="FAC832"/>
      </a:accent2>
      <a:accent3>
        <a:srgbClr val="F04632"/>
      </a:accent3>
      <a:accent4>
        <a:srgbClr val="289632"/>
      </a:accent4>
      <a:accent5>
        <a:srgbClr val="F046C8"/>
      </a:accent5>
      <a:accent6>
        <a:srgbClr val="5A14A0"/>
      </a:accent6>
      <a:hlink>
        <a:srgbClr val="1E32FA"/>
      </a:hlink>
      <a:folHlink>
        <a:srgbClr val="5A14A0"/>
      </a:folHlink>
    </a:clrScheme>
    <a:fontScheme name="IATA Notes">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IATA">
      <a:dk1>
        <a:sysClr val="windowText" lastClr="000000"/>
      </a:dk1>
      <a:lt1>
        <a:sysClr val="window" lastClr="FFFFFF"/>
      </a:lt1>
      <a:dk2>
        <a:srgbClr val="000000"/>
      </a:dk2>
      <a:lt2>
        <a:srgbClr val="E6E6E6"/>
      </a:lt2>
      <a:accent1>
        <a:srgbClr val="1E32FA"/>
      </a:accent1>
      <a:accent2>
        <a:srgbClr val="FAC832"/>
      </a:accent2>
      <a:accent3>
        <a:srgbClr val="F04632"/>
      </a:accent3>
      <a:accent4>
        <a:srgbClr val="289632"/>
      </a:accent4>
      <a:accent5>
        <a:srgbClr val="F046C8"/>
      </a:accent5>
      <a:accent6>
        <a:srgbClr val="5A14A0"/>
      </a:accent6>
      <a:hlink>
        <a:srgbClr val="1E32FA"/>
      </a:hlink>
      <a:folHlink>
        <a:srgbClr val="5A14A0"/>
      </a:folHlink>
    </a:clrScheme>
    <a:fontScheme name="IATA Handouts">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1819dfd-2b70-483c-8d8b-9dad9709405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77DAE6B4B566E4A9291EB0B8E701DB3" ma:contentTypeVersion="16" ma:contentTypeDescription="Create a new document." ma:contentTypeScope="" ma:versionID="939fc3bd60223065c6011406625043a0">
  <xsd:schema xmlns:xsd="http://www.w3.org/2001/XMLSchema" xmlns:xs="http://www.w3.org/2001/XMLSchema" xmlns:p="http://schemas.microsoft.com/office/2006/metadata/properties" xmlns:ns3="41819dfd-2b70-483c-8d8b-9dad97094058" xmlns:ns4="799b25e5-a39b-44c4-9073-33fb0e9c47f1" targetNamespace="http://schemas.microsoft.com/office/2006/metadata/properties" ma:root="true" ma:fieldsID="1d1789f8dfae367fcbb6fcd6fda30c6e" ns3:_="" ns4:_="">
    <xsd:import namespace="41819dfd-2b70-483c-8d8b-9dad97094058"/>
    <xsd:import namespace="799b25e5-a39b-44c4-9073-33fb0e9c47f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3:_activity" minOccurs="0"/>
                <xsd:element ref="ns4:SharedWithUsers" minOccurs="0"/>
                <xsd:element ref="ns4:SharedWithDetails" minOccurs="0"/>
                <xsd:element ref="ns4:SharingHintHash" minOccurs="0"/>
                <xsd:element ref="ns3:MediaLengthInSeconds" minOccurs="0"/>
                <xsd:element ref="ns3:MediaServiceObjectDetectorVersions" minOccurs="0"/>
                <xsd:element ref="ns3:MediaServiceOCR"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819dfd-2b70-483c-8d8b-9dad970940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dexed="true"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_activity" ma:index="15" nillable="true" ma:displayName="_activity" ma:hidden="true" ma:internalName="_activity">
      <xsd:simpleType>
        <xsd:restriction base="dms:Note"/>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SystemTags" ma:index="22" nillable="true" ma:displayName="MediaServiceSystemTags" ma:hidden="true" ma:internalName="MediaServiceSystemTags" ma:readOnly="true">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99b25e5-a39b-44c4-9073-33fb0e9c47f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718CE4A-E999-48C5-9EEA-D06E6C2A37FE}">
  <ds:schemaRefs>
    <ds:schemaRef ds:uri="http://schemas.microsoft.com/sharepoint/v3/contenttype/forms"/>
  </ds:schemaRefs>
</ds:datastoreItem>
</file>

<file path=customXml/itemProps2.xml><?xml version="1.0" encoding="utf-8"?>
<ds:datastoreItem xmlns:ds="http://schemas.openxmlformats.org/officeDocument/2006/customXml" ds:itemID="{D0CF6152-0DC9-440A-8D53-DB7C417773D6}">
  <ds:schemaRefs>
    <ds:schemaRef ds:uri="41819dfd-2b70-483c-8d8b-9dad97094058"/>
    <ds:schemaRef ds:uri="http://www.w3.org/XML/1998/namespace"/>
    <ds:schemaRef ds:uri="http://schemas.openxmlformats.org/package/2006/metadata/core-properties"/>
    <ds:schemaRef ds:uri="http://purl.org/dc/elements/1.1/"/>
    <ds:schemaRef ds:uri="http://schemas.microsoft.com/office/2006/documentManagement/types"/>
    <ds:schemaRef ds:uri="http://schemas.microsoft.com/office/2006/metadata/properties"/>
    <ds:schemaRef ds:uri="http://purl.org/dc/dcmitype/"/>
    <ds:schemaRef ds:uri="http://purl.org/dc/terms/"/>
    <ds:schemaRef ds:uri="http://schemas.microsoft.com/office/infopath/2007/PartnerControls"/>
    <ds:schemaRef ds:uri="799b25e5-a39b-44c4-9073-33fb0e9c47f1"/>
  </ds:schemaRefs>
</ds:datastoreItem>
</file>

<file path=customXml/itemProps3.xml><?xml version="1.0" encoding="utf-8"?>
<ds:datastoreItem xmlns:ds="http://schemas.openxmlformats.org/officeDocument/2006/customXml" ds:itemID="{446EE4CB-3581-4FBD-AEA0-B82BDB4680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819dfd-2b70-483c-8d8b-9dad97094058"/>
    <ds:schemaRef ds:uri="799b25e5-a39b-44c4-9073-33fb0e9c47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2d1c7476-f302-47ca-97a0-972f32671471}" enabled="1" method="Standard" siteId="{72e15514-5be9-46a8-8b0b-af9b1b77b3b8}" removed="0"/>
  <clbl:label id="{ad221784-72a8-4263-ac86-0ccc6b152cd8}" enabled="0" method="" siteId="{ad221784-72a8-4263-ac86-0ccc6b152cd8}" removed="1"/>
</clbl:labelList>
</file>

<file path=docProps/app.xml><?xml version="1.0" encoding="utf-8"?>
<Properties xmlns="http://schemas.openxmlformats.org/officeDocument/2006/extended-properties" xmlns:vt="http://schemas.openxmlformats.org/officeDocument/2006/docPropsVTypes">
  <Template>blank</Template>
  <TotalTime>4367</TotalTime>
  <Words>3842</Words>
  <Application>Microsoft Macintosh PowerPoint</Application>
  <PresentationFormat>Grand écran</PresentationFormat>
  <Paragraphs>470</Paragraphs>
  <Slides>22</Slides>
  <Notes>11</Notes>
  <HiddenSlides>0</HiddenSlides>
  <MMClips>0</MMClips>
  <ScaleCrop>false</ScaleCrop>
  <HeadingPairs>
    <vt:vector size="8" baseType="variant">
      <vt:variant>
        <vt:lpstr>Polices utilisées</vt:lpstr>
      </vt:variant>
      <vt:variant>
        <vt:i4>10</vt:i4>
      </vt:variant>
      <vt:variant>
        <vt:lpstr>Thème</vt:lpstr>
      </vt:variant>
      <vt:variant>
        <vt:i4>2</vt:i4>
      </vt:variant>
      <vt:variant>
        <vt:lpstr>Serveurs OLE incorporés</vt:lpstr>
      </vt:variant>
      <vt:variant>
        <vt:i4>1</vt:i4>
      </vt:variant>
      <vt:variant>
        <vt:lpstr>Titres des diapositives</vt:lpstr>
      </vt:variant>
      <vt:variant>
        <vt:i4>22</vt:i4>
      </vt:variant>
    </vt:vector>
  </HeadingPairs>
  <TitlesOfParts>
    <vt:vector size="35" baseType="lpstr">
      <vt:lpstr>Wingdings</vt:lpstr>
      <vt:lpstr>Aktiv Grotesk</vt:lpstr>
      <vt:lpstr>Courier New</vt:lpstr>
      <vt:lpstr>Lufthansa Office Text</vt:lpstr>
      <vt:lpstr>Arial</vt:lpstr>
      <vt:lpstr>Lufthansa Office Head</vt:lpstr>
      <vt:lpstr>Aktiv Grotesk Medium</vt:lpstr>
      <vt:lpstr>Roboto</vt:lpstr>
      <vt:lpstr>Montserrat</vt:lpstr>
      <vt:lpstr>Calibri</vt:lpstr>
      <vt:lpstr>IATA_Master</vt:lpstr>
      <vt:lpstr>10_BLUE_MasterSlide</vt:lpstr>
      <vt:lpstr>think-cell Slide</vt:lpstr>
      <vt:lpstr>Airline Product Management Working Group Update </vt:lpstr>
      <vt:lpstr>AGENDA</vt:lpstr>
      <vt:lpstr>Why Product Management Matters</vt:lpstr>
      <vt:lpstr>Product Management in Modern Airline Retailing</vt:lpstr>
      <vt:lpstr>APMWG Work Streams</vt:lpstr>
      <vt:lpstr>Product Catalogue | Variants</vt:lpstr>
      <vt:lpstr>Product Catalogue | Out of scope</vt:lpstr>
      <vt:lpstr>Product Definition vs Taxonomy Definitions </vt:lpstr>
      <vt:lpstr>Airlines own Product Catalogue vs. Supplier Catalogue  </vt:lpstr>
      <vt:lpstr>Airlines own Product Catalogue vs. Airline profile  </vt:lpstr>
      <vt:lpstr>Présentation PowerPoint</vt:lpstr>
      <vt:lpstr>Présentation PowerPoint</vt:lpstr>
      <vt:lpstr>Base requirements | Retailer - Supplier</vt:lpstr>
      <vt:lpstr>Base requirements | Supplier - Retailer</vt:lpstr>
      <vt:lpstr>Base Principles</vt:lpstr>
      <vt:lpstr>Extended Requirements</vt:lpstr>
      <vt:lpstr>Common Language</vt:lpstr>
      <vt:lpstr>Thank you!</vt:lpstr>
      <vt:lpstr>Product Definition: Describing product in the Retailer / Supplier for automated processing </vt:lpstr>
      <vt:lpstr>Taxonomy: Applied to the Retailer / Supplier model  </vt:lpstr>
      <vt:lpstr>Business Proces Design</vt:lpstr>
      <vt:lpstr>Business Process Desig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Activities Work Plan proposal</dc:title>
  <dc:subject>IATA PowerPoint Master Theme</dc:subject>
  <dc:creator>Anca Dolocan</dc:creator>
  <cp:lastModifiedBy>Gregor Baues</cp:lastModifiedBy>
  <cp:revision>13</cp:revision>
  <dcterms:created xsi:type="dcterms:W3CDTF">2022-12-07T17:00:58Z</dcterms:created>
  <dcterms:modified xsi:type="dcterms:W3CDTF">2025-11-20T08:4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0</vt:lpwstr>
  </property>
  <property fmtid="{D5CDD505-2E9C-101B-9397-08002B2CF9AE}" pid="3" name="TemplafyTimeStamp">
    <vt:lpwstr>2019-06-27T04:47:42.2676291Z</vt:lpwstr>
  </property>
  <property fmtid="{D5CDD505-2E9C-101B-9397-08002B2CF9AE}" pid="4" name="ContentTypeId">
    <vt:lpwstr>0x010100A77DAE6B4B566E4A9291EB0B8E701DB3</vt:lpwstr>
  </property>
  <property fmtid="{D5CDD505-2E9C-101B-9397-08002B2CF9AE}" pid="5" name="MSIP_Label_2d1c7476-f302-47ca-97a0-972f32671471_Enabled">
    <vt:lpwstr>true</vt:lpwstr>
  </property>
  <property fmtid="{D5CDD505-2E9C-101B-9397-08002B2CF9AE}" pid="6" name="MSIP_Label_2d1c7476-f302-47ca-97a0-972f32671471_SetDate">
    <vt:lpwstr>2025-02-16T16:01:37Z</vt:lpwstr>
  </property>
  <property fmtid="{D5CDD505-2E9C-101B-9397-08002B2CF9AE}" pid="7" name="MSIP_Label_2d1c7476-f302-47ca-97a0-972f32671471_Method">
    <vt:lpwstr>Standard</vt:lpwstr>
  </property>
  <property fmtid="{D5CDD505-2E9C-101B-9397-08002B2CF9AE}" pid="8" name="MSIP_Label_2d1c7476-f302-47ca-97a0-972f32671471_Name">
    <vt:lpwstr>Internal</vt:lpwstr>
  </property>
  <property fmtid="{D5CDD505-2E9C-101B-9397-08002B2CF9AE}" pid="9" name="MSIP_Label_2d1c7476-f302-47ca-97a0-972f32671471_SiteId">
    <vt:lpwstr>72e15514-5be9-46a8-8b0b-af9b1b77b3b8</vt:lpwstr>
  </property>
  <property fmtid="{D5CDD505-2E9C-101B-9397-08002B2CF9AE}" pid="10" name="MSIP_Label_2d1c7476-f302-47ca-97a0-972f32671471_ActionId">
    <vt:lpwstr>198e91fc-733c-4969-8f56-84557ee8e671</vt:lpwstr>
  </property>
  <property fmtid="{D5CDD505-2E9C-101B-9397-08002B2CF9AE}" pid="11" name="MSIP_Label_2d1c7476-f302-47ca-97a0-972f32671471_ContentBits">
    <vt:lpwstr>0</vt:lpwstr>
  </property>
  <property fmtid="{D5CDD505-2E9C-101B-9397-08002B2CF9AE}" pid="12" name="MSIP_Label_a3cc2f4c-2e8a-4413-8ff6-378ece910ea9_Enabled">
    <vt:lpwstr>true</vt:lpwstr>
  </property>
  <property fmtid="{D5CDD505-2E9C-101B-9397-08002B2CF9AE}" pid="13" name="MSIP_Label_a3cc2f4c-2e8a-4413-8ff6-378ece910ea9_SetDate">
    <vt:lpwstr>2025-03-09T21:16:33Z</vt:lpwstr>
  </property>
  <property fmtid="{D5CDD505-2E9C-101B-9397-08002B2CF9AE}" pid="14" name="MSIP_Label_a3cc2f4c-2e8a-4413-8ff6-378ece910ea9_Method">
    <vt:lpwstr>Standard</vt:lpwstr>
  </property>
  <property fmtid="{D5CDD505-2E9C-101B-9397-08002B2CF9AE}" pid="15" name="MSIP_Label_a3cc2f4c-2e8a-4413-8ff6-378ece910ea9_Name">
    <vt:lpwstr>Internal</vt:lpwstr>
  </property>
  <property fmtid="{D5CDD505-2E9C-101B-9397-08002B2CF9AE}" pid="16" name="MSIP_Label_a3cc2f4c-2e8a-4413-8ff6-378ece910ea9_SiteId">
    <vt:lpwstr>491d83df-1091-40f8-bcf9-b112f9a35fcf</vt:lpwstr>
  </property>
  <property fmtid="{D5CDD505-2E9C-101B-9397-08002B2CF9AE}" pid="17" name="MSIP_Label_a3cc2f4c-2e8a-4413-8ff6-378ece910ea9_ActionId">
    <vt:lpwstr>4997d877-c3c0-49ce-a65b-45485ea485a1</vt:lpwstr>
  </property>
  <property fmtid="{D5CDD505-2E9C-101B-9397-08002B2CF9AE}" pid="18" name="MSIP_Label_a3cc2f4c-2e8a-4413-8ff6-378ece910ea9_ContentBits">
    <vt:lpwstr>0</vt:lpwstr>
  </property>
  <property fmtid="{D5CDD505-2E9C-101B-9397-08002B2CF9AE}" pid="19" name="MSIP_Label_a3cc2f4c-2e8a-4413-8ff6-378ece910ea9_Tag">
    <vt:lpwstr>10, 3, 0, 1</vt:lpwstr>
  </property>
</Properties>
</file>